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charts/chart9.xml" ContentType="application/vnd.openxmlformats-officedocument.drawingml.chart+xml"/>
  <Override PartName="/ppt/theme/themeOverride7.xml" ContentType="application/vnd.openxmlformats-officedocument.themeOverride+xml"/>
  <Override PartName="/ppt/charts/chart10.xml" ContentType="application/vnd.openxmlformats-officedocument.drawingml.chart+xml"/>
  <Override PartName="/ppt/theme/themeOverride8.xml" ContentType="application/vnd.openxmlformats-officedocument.themeOverride+xml"/>
  <Override PartName="/ppt/charts/chart11.xml" ContentType="application/vnd.openxmlformats-officedocument.drawingml.chart+xml"/>
  <Override PartName="/ppt/theme/themeOverride9.xml" ContentType="application/vnd.openxmlformats-officedocument.themeOverride+xml"/>
  <Override PartName="/ppt/charts/chart12.xml" ContentType="application/vnd.openxmlformats-officedocument.drawingml.chart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theme/themeOverride11.xml" ContentType="application/vnd.openxmlformats-officedocument.themeOverride+xml"/>
  <Override PartName="/ppt/charts/chart14.xml" ContentType="application/vnd.openxmlformats-officedocument.drawingml.chart+xml"/>
  <Override PartName="/ppt/theme/themeOverride12.xml" ContentType="application/vnd.openxmlformats-officedocument.themeOverride+xml"/>
  <Override PartName="/ppt/charts/chart15.xml" ContentType="application/vnd.openxmlformats-officedocument.drawingml.chart+xml"/>
  <Override PartName="/ppt/theme/themeOverride13.xml" ContentType="application/vnd.openxmlformats-officedocument.themeOverride+xml"/>
  <Override PartName="/ppt/charts/chart16.xml" ContentType="application/vnd.openxmlformats-officedocument.drawingml.chart+xml"/>
  <Override PartName="/ppt/theme/themeOverride14.xml" ContentType="application/vnd.openxmlformats-officedocument.themeOverride+xml"/>
  <Override PartName="/ppt/charts/chart17.xml" ContentType="application/vnd.openxmlformats-officedocument.drawingml.chart+xml"/>
  <Override PartName="/ppt/theme/themeOverride15.xml" ContentType="application/vnd.openxmlformats-officedocument.themeOverride+xml"/>
  <Override PartName="/ppt/charts/chart18.xml" ContentType="application/vnd.openxmlformats-officedocument.drawingml.chart+xml"/>
  <Override PartName="/ppt/theme/themeOverride16.xml" ContentType="application/vnd.openxmlformats-officedocument.themeOverride+xml"/>
  <Override PartName="/ppt/charts/chart19.xml" ContentType="application/vnd.openxmlformats-officedocument.drawingml.chart+xml"/>
  <Override PartName="/ppt/theme/themeOverride17.xml" ContentType="application/vnd.openxmlformats-officedocument.themeOverride+xml"/>
  <Override PartName="/ppt/charts/chart20.xml" ContentType="application/vnd.openxmlformats-officedocument.drawingml.chart+xml"/>
  <Override PartName="/ppt/theme/themeOverride18.xml" ContentType="application/vnd.openxmlformats-officedocument.themeOverride+xml"/>
  <Override PartName="/ppt/charts/chart21.xml" ContentType="application/vnd.openxmlformats-officedocument.drawingml.chart+xml"/>
  <Override PartName="/ppt/theme/themeOverride19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6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2" r:id="rId5"/>
    <p:sldMasterId id="2147483724" r:id="rId6"/>
  </p:sldMasterIdLst>
  <p:notesMasterIdLst>
    <p:notesMasterId r:id="rId19"/>
  </p:notesMasterIdLst>
  <p:handoutMasterIdLst>
    <p:handoutMasterId r:id="rId20"/>
  </p:handoutMasterIdLst>
  <p:sldIdLst>
    <p:sldId id="4078" r:id="rId7"/>
    <p:sldId id="4079" r:id="rId8"/>
    <p:sldId id="4061" r:id="rId9"/>
    <p:sldId id="4067" r:id="rId10"/>
    <p:sldId id="4068" r:id="rId11"/>
    <p:sldId id="4216" r:id="rId12"/>
    <p:sldId id="1287" r:id="rId13"/>
    <p:sldId id="3992" r:id="rId14"/>
    <p:sldId id="1298" r:id="rId15"/>
    <p:sldId id="4371" r:id="rId16"/>
    <p:sldId id="4372" r:id="rId17"/>
    <p:sldId id="4215" r:id="rId18"/>
  </p:sldIdLst>
  <p:sldSz cx="9144000" cy="5143500" type="screen16x9"/>
  <p:notesSz cx="6797675" cy="9926638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1711" userDrawn="1">
          <p15:clr>
            <a:srgbClr val="A4A3A4"/>
          </p15:clr>
        </p15:guide>
        <p15:guide id="6" orient="horz" pos="2754" userDrawn="1">
          <p15:clr>
            <a:srgbClr val="A4A3A4"/>
          </p15:clr>
        </p15:guide>
        <p15:guide id="18" pos="1429" userDrawn="1">
          <p15:clr>
            <a:srgbClr val="A4A3A4"/>
          </p15:clr>
        </p15:guide>
        <p15:guide id="19" pos="3946" userDrawn="1">
          <p15:clr>
            <a:srgbClr val="A4A3A4"/>
          </p15:clr>
        </p15:guide>
        <p15:guide id="21" pos="4292" userDrawn="1">
          <p15:clr>
            <a:srgbClr val="A4A3A4"/>
          </p15:clr>
        </p15:guide>
        <p15:guide id="25" pos="204" userDrawn="1">
          <p15:clr>
            <a:srgbClr val="A4A3A4"/>
          </p15:clr>
        </p15:guide>
        <p15:guide id="27" pos="113" userDrawn="1">
          <p15:clr>
            <a:srgbClr val="A4A3A4"/>
          </p15:clr>
        </p15:guide>
        <p15:guide id="28" pos="5556" userDrawn="1">
          <p15:clr>
            <a:srgbClr val="A4A3A4"/>
          </p15:clr>
        </p15:guide>
        <p15:guide id="29" orient="horz" pos="690" userDrawn="1">
          <p15:clr>
            <a:srgbClr val="A4A3A4"/>
          </p15:clr>
        </p15:guide>
        <p15:guide id="30" orient="horz" pos="2021" userDrawn="1">
          <p15:clr>
            <a:srgbClr val="A4A3A4"/>
          </p15:clr>
        </p15:guide>
        <p15:guide id="31" orient="horz" pos="8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DCF2"/>
    <a:srgbClr val="00B0F0"/>
    <a:srgbClr val="FA7222"/>
    <a:srgbClr val="D9D9D9"/>
    <a:srgbClr val="F3A8A3"/>
    <a:srgbClr val="339966"/>
    <a:srgbClr val="DC291E"/>
    <a:srgbClr val="FF3399"/>
    <a:srgbClr val="A2AD00"/>
    <a:srgbClr val="A7A33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1AF14C-C943-4721-ADDD-B8EB7A32026D}" v="15" dt="2026-05-26T14:02:15.998"/>
  </p1510:revLst>
</p1510:revInfo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Štýl s motívom 1 - zvýrazneni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Stredný štýl 2 - zvýrazneni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Štýl s motívom 1 - zvýrazneni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442" y="77"/>
      </p:cViewPr>
      <p:guideLst>
        <p:guide orient="horz" pos="1711"/>
        <p:guide orient="horz" pos="2754"/>
        <p:guide pos="1429"/>
        <p:guide pos="3946"/>
        <p:guide pos="4292"/>
        <p:guide pos="204"/>
        <p:guide pos="113"/>
        <p:guide pos="5556"/>
        <p:guide orient="horz" pos="690"/>
        <p:guide orient="horz" pos="2021"/>
        <p:guide orient="horz" pos="8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8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9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1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2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3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4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5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6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8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19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644917510809756E-2"/>
          <c:y val="0.1164400544623295"/>
          <c:w val="0.91377820757778294"/>
          <c:h val="0.80831580031059191"/>
        </c:manualLayout>
      </c:layout>
      <c:lineChart>
        <c:grouping val="standar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Slovenské výrobky</c:v>
                </c:pt>
              </c:strCache>
            </c:strRef>
          </c:tx>
          <c:spPr>
            <a:ln w="12700" cap="rnd">
              <a:solidFill>
                <a:srgbClr val="FA722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12700">
                <a:solidFill>
                  <a:srgbClr val="FA7222"/>
                </a:solidFill>
              </a:ln>
              <a:effectLst/>
            </c:spPr>
          </c:marker>
          <c:dPt>
            <c:idx val="8"/>
            <c:marker>
              <c:symbol val="circle"/>
              <c:size val="8"/>
              <c:spPr>
                <a:solidFill>
                  <a:schemeClr val="bg1"/>
                </a:solidFill>
                <a:ln w="12700">
                  <a:solidFill>
                    <a:srgbClr val="FA722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A77-46D9-BEB1-40C580DEFCB3}"/>
              </c:ext>
            </c:extLst>
          </c:dPt>
          <c:dLbls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C56-458C-A342-DFE43381A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árok1!$A$2:$A$17</c:f>
              <c:numCache>
                <c:formatCode>0</c:formatCod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numCache>
            </c:numRef>
          </c:cat>
          <c:val>
            <c:numRef>
              <c:f>Hárok1!$B$2:$B$17</c:f>
              <c:numCache>
                <c:formatCode>0.0</c:formatCode>
                <c:ptCount val="16"/>
                <c:pt idx="0">
                  <c:v>50</c:v>
                </c:pt>
                <c:pt idx="1">
                  <c:v>46</c:v>
                </c:pt>
                <c:pt idx="2">
                  <c:v>44</c:v>
                </c:pt>
                <c:pt idx="3" formatCode="General">
                  <c:v>43.2</c:v>
                </c:pt>
                <c:pt idx="4" formatCode="General">
                  <c:v>39.6</c:v>
                </c:pt>
                <c:pt idx="5" formatCode="General">
                  <c:v>38.5</c:v>
                </c:pt>
                <c:pt idx="6" formatCode="General">
                  <c:v>37.200000000000003</c:v>
                </c:pt>
                <c:pt idx="7" formatCode="General">
                  <c:v>37.700000000000003</c:v>
                </c:pt>
                <c:pt idx="8" formatCode="General">
                  <c:v>38.6</c:v>
                </c:pt>
                <c:pt idx="9" formatCode="General">
                  <c:v>39.9</c:v>
                </c:pt>
                <c:pt idx="10" formatCode="General">
                  <c:v>41.4</c:v>
                </c:pt>
                <c:pt idx="11" formatCode="General">
                  <c:v>42.3</c:v>
                </c:pt>
                <c:pt idx="12">
                  <c:v>41.741966238027601</c:v>
                </c:pt>
                <c:pt idx="13">
                  <c:v>41.1748247163763</c:v>
                </c:pt>
                <c:pt idx="14">
                  <c:v>40.381755995669387</c:v>
                </c:pt>
                <c:pt idx="15">
                  <c:v>40.43487569113436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A77-46D9-BEB1-40C580DEFCB3}"/>
            </c:ext>
          </c:extLst>
        </c:ser>
        <c:ser>
          <c:idx val="2"/>
          <c:order val="1"/>
          <c:tx>
            <c:strRef>
              <c:f>Hárok1!$D$1</c:f>
              <c:strCache>
                <c:ptCount val="1"/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Hárok1!$A$2:$A$17</c:f>
              <c:numCache>
                <c:formatCode>0</c:formatCod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numCache>
            </c:numRef>
          </c:cat>
          <c:val>
            <c:numRef>
              <c:f>Hárok1!$D$2:$D$13</c:f>
              <c:numCache>
                <c:formatCode>General</c:formatCode>
                <c:ptCount val="1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A77-46D9-BEB1-40C580DEFC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marker val="1"/>
        <c:smooth val="0"/>
        <c:axId val="1459131536"/>
        <c:axId val="1998638160"/>
      </c:lineChart>
      <c:catAx>
        <c:axId val="145913153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998638160"/>
        <c:crosses val="autoZero"/>
        <c:auto val="1"/>
        <c:lblAlgn val="ctr"/>
        <c:lblOffset val="100"/>
        <c:noMultiLvlLbl val="0"/>
      </c:catAx>
      <c:valAx>
        <c:axId val="1998638160"/>
        <c:scaling>
          <c:orientation val="minMax"/>
          <c:max val="60"/>
          <c:min val="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</a:ln>
            <a:effectLst/>
          </c:spPr>
        </c:majorGridlines>
        <c:numFmt formatCode="0&quot;%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45913153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5480486959324287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54,5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48-4916-A35B-5E32234390AB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48-4916-A35B-5E32234390AB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54.498371143029061</c:v>
                </c:pt>
                <c:pt idx="1">
                  <c:v>45.5016288569709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48-4916-A35B-5E32234390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70146653230276"/>
          <c:y val="4.2381255522722747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FB-47EA-90B0-7517DE54394B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FB-47EA-90B0-7517DE54394B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FB-47EA-90B0-7517DE5439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52,6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82-45AD-BA9D-CE6C2A4B2D57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82-45AD-BA9D-CE6C2A4B2D57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52.594716472273809</c:v>
                </c:pt>
                <c:pt idx="1">
                  <c:v>47.405283527726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82-45AD-BA9D-CE6C2A4B2D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6B-412A-A35F-A7D5C2711BCE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A6B-412A-A35F-A7D5C2711BCE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6B-412A-A35F-A7D5C2711B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826908499524513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6,9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24-45EB-91BF-315B03AE7185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24-45EB-91BF-315B03AE7185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6.929216154140725</c:v>
                </c:pt>
                <c:pt idx="1">
                  <c:v>53.070783845859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24-45EB-91BF-315B03AE7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59-44E4-ABA2-BAC780F2536F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59-44E4-ABA2-BAC780F2536F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59-44E4-ABA2-BAC780F253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1,1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F6-467F-B851-598DED5F2563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F6-467F-B851-598DED5F2563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1.112931657959429</c:v>
                </c:pt>
                <c:pt idx="1">
                  <c:v>58.887068342040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F6-467F-B851-598DED5F25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997372369380974E-2"/>
          <c:y val="5.429798474065768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60-4241-9240-B143B164D660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60-4241-9240-B143B164D660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60-4241-9240-B143B164D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39,3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02-4A28-B8E5-4527C0B6C5D8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02-4A28-B8E5-4527C0B6C5D8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39.337229092657381</c:v>
                </c:pt>
                <c:pt idx="1">
                  <c:v>60.662770907342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02-4A28-B8E5-4527C0B6C5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solidFill>
              <a:srgbClr val="E55A00">
                <a:lumMod val="20000"/>
                <a:lumOff val="80000"/>
              </a:srgbClr>
            </a:solidFill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E9C-4403-A164-FB5CB37BDA2A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E9C-4403-A164-FB5CB37BDA2A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381755995669387</c:v>
                </c:pt>
                <c:pt idx="1">
                  <c:v>59.618244004330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9C-4403-A164-FB5CB37BDA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>
                <a:solidFill>
                  <a:srgbClr val="FA7222"/>
                </a:solidFill>
              </a:defRPr>
            </a:pPr>
            <a:r>
              <a:rPr lang="sk-SK"/>
              <a:t>42,3%</a:t>
            </a:r>
          </a:p>
        </c:rich>
      </c:tx>
      <c:layout>
        <c:manualLayout>
          <c:xMode val="edge"/>
          <c:yMode val="edge"/>
          <c:x val="0.35480486959324287"/>
          <c:y val="0.37082895636050917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4"/>
      </c:doughnut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34,1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95-485C-AD0A-19E713C33717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95-485C-AD0A-19E713C33717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34.096733490342217</c:v>
                </c:pt>
                <c:pt idx="1">
                  <c:v>65.903266509657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595-485C-AD0A-19E713C337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997372369380974E-2"/>
          <c:y val="5.429798474065768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75-4C16-BC20-90DA03E55D6C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75-4C16-BC20-90DA03E55D6C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75-4C16-BC20-90DA03E55D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OP Jednota</c:v>
                </c:pt>
              </c:strCache>
            </c:strRef>
          </c:tx>
          <c:spPr>
            <a:ln w="19050">
              <a:solidFill>
                <a:schemeClr val="accent2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chemeClr val="accent2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68.2</c:v>
                </c:pt>
                <c:pt idx="1">
                  <c:v>64.049432635809524</c:v>
                </c:pt>
                <c:pt idx="2">
                  <c:v>63.94309043662998</c:v>
                </c:pt>
                <c:pt idx="3">
                  <c:v>61.692896362626136</c:v>
                </c:pt>
                <c:pt idx="4">
                  <c:v>62.480519151086597</c:v>
                </c:pt>
                <c:pt idx="5">
                  <c:v>60.084628302701113</c:v>
                </c:pt>
                <c:pt idx="6">
                  <c:v>56.237636478439185</c:v>
                </c:pt>
                <c:pt idx="7">
                  <c:v>55.958851240954232</c:v>
                </c:pt>
                <c:pt idx="8">
                  <c:v>57.652497697097083</c:v>
                </c:pt>
                <c:pt idx="9">
                  <c:v>56.175380922016899</c:v>
                </c:pt>
                <c:pt idx="10">
                  <c:v>54.874213836477999</c:v>
                </c:pt>
                <c:pt idx="11">
                  <c:v>55.24800702912767</c:v>
                </c:pt>
                <c:pt idx="12">
                  <c:v>54.764456129716834</c:v>
                </c:pt>
                <c:pt idx="13">
                  <c:v>54.70649796853737</c:v>
                </c:pt>
                <c:pt idx="14">
                  <c:v>55.522352757503967</c:v>
                </c:pt>
                <c:pt idx="15">
                  <c:v>54.49837114302906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414-4026-A20A-DB4DDE54EF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resh Plus</c:v>
                </c:pt>
              </c:strCache>
            </c:strRef>
          </c:tx>
          <c:spPr>
            <a:ln w="19050">
              <a:solidFill>
                <a:schemeClr val="accent1">
                  <a:lumMod val="60000"/>
                  <a:lumOff val="40000"/>
                </a:schemeClr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General</c:formatCode>
                <c:ptCount val="16"/>
                <c:pt idx="10" formatCode="0.0">
                  <c:v>50.298093169201053</c:v>
                </c:pt>
                <c:pt idx="11" formatCode="0.0">
                  <c:v>50.441993385958369</c:v>
                </c:pt>
                <c:pt idx="12" formatCode="0.0">
                  <c:v>51.33521841374845</c:v>
                </c:pt>
                <c:pt idx="13" formatCode="0.0">
                  <c:v>51.219778375048513</c:v>
                </c:pt>
                <c:pt idx="14" formatCode="0.0">
                  <c:v>52.046555952031206</c:v>
                </c:pt>
                <c:pt idx="15" formatCode="0.0">
                  <c:v>52.59471647227380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A77-44C2-82C4-10A8EF88C1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BA</c:v>
                </c:pt>
              </c:strCache>
            </c:strRef>
          </c:tx>
          <c:spPr>
            <a:ln w="19050">
              <a:solidFill>
                <a:srgbClr val="E55A00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rgbClr val="E55A00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tx2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63.9</c:v>
                </c:pt>
                <c:pt idx="1">
                  <c:v>63.686912376821212</c:v>
                </c:pt>
                <c:pt idx="2">
                  <c:v>56.631306865726359</c:v>
                </c:pt>
                <c:pt idx="3">
                  <c:v>55.527618580566021</c:v>
                </c:pt>
                <c:pt idx="4">
                  <c:v>51.010809064980933</c:v>
                </c:pt>
                <c:pt idx="5">
                  <c:v>53.556364335584483</c:v>
                </c:pt>
                <c:pt idx="6">
                  <c:v>48.413556048604967</c:v>
                </c:pt>
                <c:pt idx="7">
                  <c:v>49.903533539248563</c:v>
                </c:pt>
                <c:pt idx="8">
                  <c:v>48.674322826788107</c:v>
                </c:pt>
                <c:pt idx="9">
                  <c:v>49.147456658411109</c:v>
                </c:pt>
                <c:pt idx="10">
                  <c:v>49.840237681484403</c:v>
                </c:pt>
                <c:pt idx="11">
                  <c:v>49.501232162871112</c:v>
                </c:pt>
                <c:pt idx="12">
                  <c:v>50.644698626366811</c:v>
                </c:pt>
                <c:pt idx="13">
                  <c:v>46.105278097858495</c:v>
                </c:pt>
                <c:pt idx="14">
                  <c:v>49.225985783293652</c:v>
                </c:pt>
                <c:pt idx="15">
                  <c:v>46.9292161541407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424-4D06-936E-DAF8AAEEA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kupina Terno</c:v>
                </c:pt>
              </c:strCache>
            </c:strRef>
          </c:tx>
          <c:spPr>
            <a:ln w="19050">
              <a:solidFill>
                <a:srgbClr val="339966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rgbClr val="339966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rgbClr val="339966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General</c:formatCode>
                <c:ptCount val="16"/>
                <c:pt idx="10" formatCode="0.0">
                  <c:v>43.1406180276662</c:v>
                </c:pt>
                <c:pt idx="11" formatCode="0.0">
                  <c:v>42.857875060507723</c:v>
                </c:pt>
                <c:pt idx="12" formatCode="0.0">
                  <c:v>42.957323789292758</c:v>
                </c:pt>
                <c:pt idx="13" formatCode="0.0">
                  <c:v>44.425831531376623</c:v>
                </c:pt>
                <c:pt idx="14" formatCode="0.0">
                  <c:v>43.939505222740891</c:v>
                </c:pt>
                <c:pt idx="15" formatCode="0.0">
                  <c:v>44.72144442708545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023-4E8E-A815-FDE197541E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esco</c:v>
                </c:pt>
              </c:strCache>
            </c:strRef>
          </c:tx>
          <c:spPr>
            <a:ln w="19050">
              <a:solidFill>
                <a:schemeClr val="accent1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chemeClr val="accent1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1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58.5</c:v>
                </c:pt>
                <c:pt idx="1">
                  <c:v>50.239668685578884</c:v>
                </c:pt>
                <c:pt idx="2">
                  <c:v>45.570802039744038</c:v>
                </c:pt>
                <c:pt idx="3">
                  <c:v>43.837725114466167</c:v>
                </c:pt>
                <c:pt idx="4">
                  <c:v>42.525914813650154</c:v>
                </c:pt>
                <c:pt idx="5">
                  <c:v>42.990225512478631</c:v>
                </c:pt>
                <c:pt idx="6">
                  <c:v>39.916540836005694</c:v>
                </c:pt>
                <c:pt idx="7">
                  <c:v>41.500919018915077</c:v>
                </c:pt>
                <c:pt idx="8">
                  <c:v>41.904606161646278</c:v>
                </c:pt>
                <c:pt idx="9">
                  <c:v>41.478775865716891</c:v>
                </c:pt>
                <c:pt idx="10">
                  <c:v>41.338899891478299</c:v>
                </c:pt>
                <c:pt idx="11">
                  <c:v>42.475659870613086</c:v>
                </c:pt>
                <c:pt idx="12">
                  <c:v>40.633581625243984</c:v>
                </c:pt>
                <c:pt idx="13">
                  <c:v>41.932252619810811</c:v>
                </c:pt>
                <c:pt idx="14">
                  <c:v>41.701282088628389</c:v>
                </c:pt>
                <c:pt idx="15">
                  <c:v>41.1129316579594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C63-48B6-A9E1-B639A2836B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Kaufland</c:v>
                </c:pt>
              </c:strCache>
            </c:strRef>
          </c:tx>
          <c:spPr>
            <a:ln w="19050">
              <a:solidFill>
                <a:srgbClr val="F0AB00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rgbClr val="F0AB00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rgbClr val="F0AB00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41.2</c:v>
                </c:pt>
                <c:pt idx="1">
                  <c:v>42.825990824441504</c:v>
                </c:pt>
                <c:pt idx="2">
                  <c:v>44.37066990899212</c:v>
                </c:pt>
                <c:pt idx="3">
                  <c:v>42.921745992886585</c:v>
                </c:pt>
                <c:pt idx="4">
                  <c:v>37.954937083592</c:v>
                </c:pt>
                <c:pt idx="5">
                  <c:v>35.179896041174054</c:v>
                </c:pt>
                <c:pt idx="6">
                  <c:v>36.565181804419616</c:v>
                </c:pt>
                <c:pt idx="7">
                  <c:v>36.545302750980028</c:v>
                </c:pt>
                <c:pt idx="8">
                  <c:v>39.074300653341282</c:v>
                </c:pt>
                <c:pt idx="9">
                  <c:v>40.121474881094116</c:v>
                </c:pt>
                <c:pt idx="10">
                  <c:v>41.5699129620359</c:v>
                </c:pt>
                <c:pt idx="11">
                  <c:v>43.159999779356021</c:v>
                </c:pt>
                <c:pt idx="12">
                  <c:v>43.261150338842718</c:v>
                </c:pt>
                <c:pt idx="13">
                  <c:v>42.480759926322619</c:v>
                </c:pt>
                <c:pt idx="14">
                  <c:v>40.247156352078981</c:v>
                </c:pt>
                <c:pt idx="15">
                  <c:v>40.58564085693787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512-40DC-B7EB-3700FEE67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illa</c:v>
                </c:pt>
              </c:strCache>
            </c:strRef>
          </c:tx>
          <c:spPr>
            <a:ln w="19050">
              <a:solidFill>
                <a:schemeClr val="accent3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chemeClr val="accent3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3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50.5</c:v>
                </c:pt>
                <c:pt idx="1">
                  <c:v>51.026242931616473</c:v>
                </c:pt>
                <c:pt idx="2">
                  <c:v>47.884944027091628</c:v>
                </c:pt>
                <c:pt idx="3">
                  <c:v>45.35149479098736</c:v>
                </c:pt>
                <c:pt idx="4">
                  <c:v>43.912796367043505</c:v>
                </c:pt>
                <c:pt idx="5">
                  <c:v>41.341786943569637</c:v>
                </c:pt>
                <c:pt idx="6">
                  <c:v>39.757372184440499</c:v>
                </c:pt>
                <c:pt idx="7">
                  <c:v>39.931038958970774</c:v>
                </c:pt>
                <c:pt idx="8">
                  <c:v>42.057183824164987</c:v>
                </c:pt>
                <c:pt idx="9">
                  <c:v>42.225094711940237</c:v>
                </c:pt>
                <c:pt idx="10">
                  <c:v>42.801556420233503</c:v>
                </c:pt>
                <c:pt idx="11">
                  <c:v>42.11367150766722</c:v>
                </c:pt>
                <c:pt idx="12">
                  <c:v>41.991406912845541</c:v>
                </c:pt>
                <c:pt idx="13">
                  <c:v>41.231258491284009</c:v>
                </c:pt>
                <c:pt idx="14">
                  <c:v>40.603431435262358</c:v>
                </c:pt>
                <c:pt idx="15">
                  <c:v>39.3372290926573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A2F-4ED3-B131-26DACAB9B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idl</c:v>
                </c:pt>
              </c:strCache>
            </c:strRef>
          </c:tx>
          <c:spPr>
            <a:ln w="19050">
              <a:solidFill>
                <a:schemeClr val="accent6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chemeClr val="accent6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6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15.5</c:v>
                </c:pt>
                <c:pt idx="1">
                  <c:v>23.947822075191084</c:v>
                </c:pt>
                <c:pt idx="2">
                  <c:v>18.269609444007301</c:v>
                </c:pt>
                <c:pt idx="3">
                  <c:v>16.336616186783285</c:v>
                </c:pt>
                <c:pt idx="4">
                  <c:v>14.499256948398235</c:v>
                </c:pt>
                <c:pt idx="5">
                  <c:v>16.325594142597865</c:v>
                </c:pt>
                <c:pt idx="6">
                  <c:v>14.138278636513803</c:v>
                </c:pt>
                <c:pt idx="7">
                  <c:v>15.564872777790933</c:v>
                </c:pt>
                <c:pt idx="8">
                  <c:v>18.193178673678801</c:v>
                </c:pt>
                <c:pt idx="9">
                  <c:v>25.528030076791211</c:v>
                </c:pt>
                <c:pt idx="10">
                  <c:v>28.4913991060345</c:v>
                </c:pt>
                <c:pt idx="11">
                  <c:v>32.618911897448896</c:v>
                </c:pt>
                <c:pt idx="12">
                  <c:v>34.042130066355739</c:v>
                </c:pt>
                <c:pt idx="13">
                  <c:v>29.27262036484435</c:v>
                </c:pt>
                <c:pt idx="14">
                  <c:v>31.750334090867288</c:v>
                </c:pt>
                <c:pt idx="15">
                  <c:v>33.36971748942344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0BB-4EBB-94B4-AB483AA215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40264999600666"/>
          <c:y val="0"/>
          <c:w val="0.52454136387648764"/>
          <c:h val="1"/>
        </c:manualLayout>
      </c:layout>
      <c:doughnutChart>
        <c:varyColors val="1"/>
        <c:ser>
          <c:idx val="0"/>
          <c:order val="0"/>
          <c:spPr>
            <a:noFill/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rgbClr val="FA7222"/>
              </a:soli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32-42A4-805E-1AAD70257705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32-42A4-805E-1AAD70257705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slovenské</c:v>
                </c:pt>
                <c:pt idx="1">
                  <c:v>zahraničné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32-42A4-805E-1AAD70257705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65"/>
      </c:doughnutChart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1202987162423E-2"/>
          <c:y val="3.5714671474091075E-2"/>
          <c:w val="0.90666098865149025"/>
          <c:h val="0.7901187113004852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BA</c:v>
                </c:pt>
              </c:strCache>
            </c:strRef>
          </c:tx>
          <c:spPr>
            <a:ln w="19050">
              <a:solidFill>
                <a:srgbClr val="FCC000"/>
              </a:solidFill>
            </a:ln>
          </c:spPr>
          <c:marker>
            <c:symbol val="circle"/>
            <c:size val="6"/>
            <c:spPr>
              <a:solidFill>
                <a:schemeClr val="bg1"/>
              </a:solidFill>
              <a:ln w="12700">
                <a:solidFill>
                  <a:srgbClr val="FCC000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rgbClr val="FCC000"/>
                    </a:solidFill>
                  </a:defRPr>
                </a:pPr>
                <a:endParaRPr lang="sk-SK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</c:strCache>
            </c:strRef>
          </c:cat>
          <c:val>
            <c:numRef>
              <c:f>Sheet1!$B$2:$Q$2</c:f>
              <c:numCache>
                <c:formatCode>General</c:formatCode>
                <c:ptCount val="16"/>
                <c:pt idx="14" formatCode="0.0">
                  <c:v>43.622267162614015</c:v>
                </c:pt>
                <c:pt idx="15" formatCode="0.0">
                  <c:v>34.0967334903422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49D-4853-9287-54A23ED2E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25216"/>
        <c:axId val="30026752"/>
      </c:lineChart>
      <c:catAx>
        <c:axId val="3002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6350">
            <a:solidFill>
              <a:srgbClr val="C0C0C0"/>
            </a:solidFill>
            <a:prstDash val="solid"/>
          </a:ln>
        </c:spPr>
        <c:txPr>
          <a:bodyPr rot="-5400000" vert="horz"/>
          <a:lstStyle/>
          <a:p>
            <a:pPr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sk-SK"/>
          </a:p>
        </c:txPr>
        <c:crossAx val="30026752"/>
        <c:crosses val="autoZero"/>
        <c:auto val="0"/>
        <c:lblAlgn val="ctr"/>
        <c:lblOffset val="20"/>
        <c:tickLblSkip val="1"/>
        <c:tickMarkSkip val="1"/>
        <c:noMultiLvlLbl val="0"/>
      </c:catAx>
      <c:valAx>
        <c:axId val="30026752"/>
        <c:scaling>
          <c:orientation val="minMax"/>
          <c:max val="100"/>
          <c:min val="0"/>
        </c:scaling>
        <c:delete val="0"/>
        <c:axPos val="l"/>
        <c:majorGridlines>
          <c:spPr>
            <a:ln w="6350">
              <a:solidFill>
                <a:srgbClr val="C0C0C0"/>
              </a:solidFill>
              <a:prstDash val="sysDash"/>
            </a:ln>
          </c:spPr>
        </c:majorGridlines>
        <c:numFmt formatCode="0&quot;%&quot;" sourceLinked="0"/>
        <c:majorTickMark val="out"/>
        <c:minorTickMark val="none"/>
        <c:tickLblPos val="none"/>
        <c:spPr>
          <a:ln w="9559">
            <a:noFill/>
          </a:ln>
        </c:spPr>
        <c:txPr>
          <a:bodyPr rot="0" vert="horz"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sk-SK"/>
          </a:p>
        </c:txPr>
        <c:crossAx val="30025216"/>
        <c:crosses val="autoZero"/>
        <c:crossBetween val="between"/>
        <c:majorUnit val="20"/>
      </c:valAx>
      <c:spPr>
        <a:noFill/>
        <a:ln w="2538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10" b="0" i="0" u="none" strike="noStrike" baseline="0">
          <a:solidFill>
            <a:schemeClr val="tx1"/>
          </a:solidFill>
          <a:latin typeface="+mj-lt"/>
          <a:ea typeface="Tahoma"/>
          <a:cs typeface="Tahoma"/>
        </a:defRPr>
      </a:pPr>
      <a:endParaRPr lang="sk-SK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791474981751182E-3"/>
          <c:y val="2.0801468816856902E-2"/>
          <c:w val="0.98756112349983993"/>
          <c:h val="0.97919853118314326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chemeClr val="accent3"/>
            </a:solidFill>
            <a:ln w="12549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099">
                <a:noFill/>
              </a:ln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mlieko</c:v>
                </c:pt>
                <c:pt idx="1">
                  <c:v>vody a minerálky neochut. a ochutené</c:v>
                </c:pt>
                <c:pt idx="2">
                  <c:v>víno</c:v>
                </c:pt>
                <c:pt idx="3">
                  <c:v>pivo</c:v>
                </c:pt>
                <c:pt idx="4">
                  <c:v>mliečne výrobky - ostatné</c:v>
                </c:pt>
                <c:pt idx="5">
                  <c:v>mäsové výrobky (balené, nemrazené)</c:v>
                </c:pt>
                <c:pt idx="6">
                  <c:v>liehoviny a destiláty</c:v>
                </c:pt>
                <c:pt idx="7">
                  <c:v>mliečne výrobky - prírodné syry</c:v>
                </c:pt>
                <c:pt idx="8">
                  <c:v>cestoviny</c:v>
                </c:pt>
                <c:pt idx="9">
                  <c:v>spracované produkty</c:v>
                </c:pt>
                <c:pt idx="10">
                  <c:v>trvanlivé pečivo (balené)</c:v>
                </c:pt>
                <c:pt idx="11">
                  <c:v>nealko</c:v>
                </c:pt>
                <c:pt idx="12">
                  <c:v>cukrovinky - čokoládové</c:v>
                </c:pt>
                <c:pt idx="13">
                  <c:v>konzervované produkty</c:v>
                </c:pt>
                <c:pt idx="14">
                  <c:v>oleje</c:v>
                </c:pt>
                <c:pt idx="15">
                  <c:v>cukrovinky - nečokoládové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84.650053731480284</c:v>
                </c:pt>
                <c:pt idx="1">
                  <c:v>69.181299634978572</c:v>
                </c:pt>
                <c:pt idx="2">
                  <c:v>67.656959703623883</c:v>
                </c:pt>
                <c:pt idx="3">
                  <c:v>59.336440475299426</c:v>
                </c:pt>
                <c:pt idx="4">
                  <c:v>74.211785247545464</c:v>
                </c:pt>
                <c:pt idx="5">
                  <c:v>74.620335773556718</c:v>
                </c:pt>
                <c:pt idx="6">
                  <c:v>59.158265950180862</c:v>
                </c:pt>
                <c:pt idx="7">
                  <c:v>68.625440471766822</c:v>
                </c:pt>
                <c:pt idx="8">
                  <c:v>63.080985969388053</c:v>
                </c:pt>
                <c:pt idx="9">
                  <c:v>57.276950497964613</c:v>
                </c:pt>
                <c:pt idx="10">
                  <c:v>48.595851795875497</c:v>
                </c:pt>
                <c:pt idx="11">
                  <c:v>35.325360583817329</c:v>
                </c:pt>
                <c:pt idx="12">
                  <c:v>33.646825446150586</c:v>
                </c:pt>
                <c:pt idx="13">
                  <c:v>34.30316612843805</c:v>
                </c:pt>
                <c:pt idx="14">
                  <c:v>24.698704268415121</c:v>
                </c:pt>
                <c:pt idx="15">
                  <c:v>22.542560817692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3E-4BAE-AF3C-A1E0AE2D2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9848704"/>
        <c:axId val="29850240"/>
      </c:barChart>
      <c:catAx>
        <c:axId val="29848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37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sk-SK"/>
          </a:p>
        </c:txPr>
        <c:crossAx val="298502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9850240"/>
        <c:scaling>
          <c:orientation val="minMax"/>
          <c:max val="100"/>
        </c:scaling>
        <c:delete val="1"/>
        <c:axPos val="t"/>
        <c:numFmt formatCode="0&quot;%&quot;" sourceLinked="0"/>
        <c:majorTickMark val="out"/>
        <c:minorTickMark val="none"/>
        <c:tickLblPos val="none"/>
        <c:crossAx val="29848704"/>
        <c:crosses val="autoZero"/>
        <c:crossBetween val="between"/>
        <c:majorUnit val="25"/>
      </c:valAx>
      <c:spPr>
        <a:noFill/>
        <a:ln w="250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89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791474981751182E-3"/>
          <c:y val="2.0801468816856902E-2"/>
          <c:w val="0.98756112349983993"/>
          <c:h val="0.97919853118314326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rgbClr val="F0AB00"/>
            </a:solidFill>
            <a:ln w="12549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099">
                <a:noFill/>
              </a:ln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mlieko</c:v>
                </c:pt>
                <c:pt idx="1">
                  <c:v>vody a minerálky neochut. a ochutené</c:v>
                </c:pt>
                <c:pt idx="2">
                  <c:v>víno</c:v>
                </c:pt>
                <c:pt idx="3">
                  <c:v>pivo</c:v>
                </c:pt>
                <c:pt idx="4">
                  <c:v>mliečne výrobky - ostatné</c:v>
                </c:pt>
                <c:pt idx="5">
                  <c:v>mäsové výrobky (balené, nemrazené)</c:v>
                </c:pt>
                <c:pt idx="6">
                  <c:v>liehoviny a destiláty</c:v>
                </c:pt>
                <c:pt idx="7">
                  <c:v>mliečne výrobky - prírodné syry</c:v>
                </c:pt>
                <c:pt idx="8">
                  <c:v>cestoviny</c:v>
                </c:pt>
                <c:pt idx="9">
                  <c:v>spracované produkty</c:v>
                </c:pt>
                <c:pt idx="10">
                  <c:v>trvanlivé pečivo (balené)</c:v>
                </c:pt>
                <c:pt idx="11">
                  <c:v>nealko</c:v>
                </c:pt>
                <c:pt idx="12">
                  <c:v>cukrovinky - čokoládové</c:v>
                </c:pt>
                <c:pt idx="13">
                  <c:v>konzervované produkty</c:v>
                </c:pt>
                <c:pt idx="14">
                  <c:v>oleje</c:v>
                </c:pt>
                <c:pt idx="15">
                  <c:v>cukrovinky - nečokoládové</c:v>
                </c:pt>
              </c:strCache>
            </c:strRef>
          </c:cat>
          <c:val>
            <c:numRef>
              <c:f>Sheet1!$B$2:$Q$2</c:f>
              <c:numCache>
                <c:formatCode>0</c:formatCode>
                <c:ptCount val="16"/>
                <c:pt idx="0" formatCode="0.0">
                  <c:v>76.274184565202731</c:v>
                </c:pt>
                <c:pt idx="1">
                  <c:v>63.29128892925749</c:v>
                </c:pt>
                <c:pt idx="2">
                  <c:v>60.377388687122355</c:v>
                </c:pt>
                <c:pt idx="3">
                  <c:v>54.058912606001812</c:v>
                </c:pt>
                <c:pt idx="4">
                  <c:v>59.119251719994502</c:v>
                </c:pt>
                <c:pt idx="5">
                  <c:v>57.663271510219481</c:v>
                </c:pt>
                <c:pt idx="6">
                  <c:v>54.298477395803978</c:v>
                </c:pt>
                <c:pt idx="7">
                  <c:v>52.895858372469185</c:v>
                </c:pt>
                <c:pt idx="8">
                  <c:v>51.232516368673046</c:v>
                </c:pt>
                <c:pt idx="9">
                  <c:v>47.030327146126488</c:v>
                </c:pt>
                <c:pt idx="10">
                  <c:v>38.316510367648263</c:v>
                </c:pt>
                <c:pt idx="11">
                  <c:v>23.187331039071996</c:v>
                </c:pt>
                <c:pt idx="12">
                  <c:v>26.235436793459638</c:v>
                </c:pt>
                <c:pt idx="13">
                  <c:v>16.610816970438083</c:v>
                </c:pt>
                <c:pt idx="14">
                  <c:v>13.43250949220751</c:v>
                </c:pt>
                <c:pt idx="15">
                  <c:v>10.634787106707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FC-43D4-ABE1-7A1C763A57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9848704"/>
        <c:axId val="29850240"/>
      </c:barChart>
      <c:catAx>
        <c:axId val="29848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37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sk-SK"/>
          </a:p>
        </c:txPr>
        <c:crossAx val="298502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9850240"/>
        <c:scaling>
          <c:orientation val="minMax"/>
          <c:max val="100"/>
        </c:scaling>
        <c:delete val="1"/>
        <c:axPos val="t"/>
        <c:numFmt formatCode="0&quot;%&quot;" sourceLinked="0"/>
        <c:majorTickMark val="out"/>
        <c:minorTickMark val="none"/>
        <c:tickLblPos val="none"/>
        <c:crossAx val="29848704"/>
        <c:crosses val="autoZero"/>
        <c:crossBetween val="between"/>
        <c:majorUnit val="25"/>
      </c:valAx>
      <c:spPr>
        <a:noFill/>
        <a:ln w="250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89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791474981751182E-3"/>
          <c:y val="2.0801468816856902E-2"/>
          <c:w val="0.98756112349983993"/>
          <c:h val="0.97919853118314326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chemeClr val="accent1"/>
            </a:solidFill>
            <a:ln w="12549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099">
                <a:noFill/>
              </a:ln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mlieko</c:v>
                </c:pt>
                <c:pt idx="1">
                  <c:v>vody a minerálky neochut. a ochutené</c:v>
                </c:pt>
                <c:pt idx="2">
                  <c:v>víno</c:v>
                </c:pt>
                <c:pt idx="3">
                  <c:v>pivo</c:v>
                </c:pt>
                <c:pt idx="4">
                  <c:v>mliečne výrobky - ostatné</c:v>
                </c:pt>
                <c:pt idx="5">
                  <c:v>mäsové výrobky (balené, nemrazené)</c:v>
                </c:pt>
                <c:pt idx="6">
                  <c:v>liehoviny a destiláty</c:v>
                </c:pt>
                <c:pt idx="7">
                  <c:v>mliečne výrobky - prírodné syry</c:v>
                </c:pt>
                <c:pt idx="8">
                  <c:v>cestoviny</c:v>
                </c:pt>
                <c:pt idx="9">
                  <c:v>spracované produkty</c:v>
                </c:pt>
                <c:pt idx="10">
                  <c:v>trvanlivé pečivo (balené)</c:v>
                </c:pt>
                <c:pt idx="11">
                  <c:v>nealko</c:v>
                </c:pt>
                <c:pt idx="12">
                  <c:v>cukrovinky - čokoládové</c:v>
                </c:pt>
                <c:pt idx="13">
                  <c:v>konzervované produkty</c:v>
                </c:pt>
                <c:pt idx="14">
                  <c:v>oleje</c:v>
                </c:pt>
                <c:pt idx="15">
                  <c:v>cukrovinky - nečokoládové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70.47924296978411</c:v>
                </c:pt>
                <c:pt idx="1">
                  <c:v>65.240499801332945</c:v>
                </c:pt>
                <c:pt idx="2">
                  <c:v>54.783443955205222</c:v>
                </c:pt>
                <c:pt idx="3">
                  <c:v>51.33713348217541</c:v>
                </c:pt>
                <c:pt idx="4">
                  <c:v>47.938086709602842</c:v>
                </c:pt>
                <c:pt idx="5">
                  <c:v>50.20455922676507</c:v>
                </c:pt>
                <c:pt idx="6">
                  <c:v>46.126246620915751</c:v>
                </c:pt>
                <c:pt idx="7">
                  <c:v>41.548464540564254</c:v>
                </c:pt>
                <c:pt idx="8">
                  <c:v>38.447266245804784</c:v>
                </c:pt>
                <c:pt idx="9">
                  <c:v>35.513869379951721</c:v>
                </c:pt>
                <c:pt idx="10">
                  <c:v>26.753848288637528</c:v>
                </c:pt>
                <c:pt idx="11">
                  <c:v>20.089870778218106</c:v>
                </c:pt>
                <c:pt idx="12">
                  <c:v>19.033667454327116</c:v>
                </c:pt>
                <c:pt idx="13">
                  <c:v>16.494785813392969</c:v>
                </c:pt>
                <c:pt idx="14">
                  <c:v>11.411796257589089</c:v>
                </c:pt>
                <c:pt idx="15">
                  <c:v>8.4562186576992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C3-41F2-82F5-BA6ECA6501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9848704"/>
        <c:axId val="29850240"/>
      </c:barChart>
      <c:catAx>
        <c:axId val="29848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37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sk-SK"/>
          </a:p>
        </c:txPr>
        <c:crossAx val="298502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9850240"/>
        <c:scaling>
          <c:orientation val="minMax"/>
          <c:max val="100"/>
        </c:scaling>
        <c:delete val="1"/>
        <c:axPos val="t"/>
        <c:numFmt formatCode="0&quot;%&quot;" sourceLinked="0"/>
        <c:majorTickMark val="out"/>
        <c:minorTickMark val="none"/>
        <c:tickLblPos val="none"/>
        <c:crossAx val="29848704"/>
        <c:crosses val="autoZero"/>
        <c:crossBetween val="between"/>
        <c:majorUnit val="25"/>
      </c:valAx>
      <c:spPr>
        <a:noFill/>
        <a:ln w="250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89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791474981751182E-3"/>
          <c:y val="2.0801468816856902E-2"/>
          <c:w val="0.98756112349983993"/>
          <c:h val="0.97919853118314326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chemeClr val="accent6"/>
            </a:solidFill>
            <a:ln w="12549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099">
                <a:noFill/>
              </a:ln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mlieko</c:v>
                </c:pt>
                <c:pt idx="1">
                  <c:v>vody a minerálky neochut. a ochutené</c:v>
                </c:pt>
                <c:pt idx="2">
                  <c:v>víno</c:v>
                </c:pt>
                <c:pt idx="3">
                  <c:v>pivo</c:v>
                </c:pt>
                <c:pt idx="4">
                  <c:v>mliečne výrobky - ostatné</c:v>
                </c:pt>
                <c:pt idx="5">
                  <c:v>mäsové výrobky (balené, nemrazené)</c:v>
                </c:pt>
                <c:pt idx="6">
                  <c:v>liehoviny a destiláty</c:v>
                </c:pt>
                <c:pt idx="7">
                  <c:v>mliečne výrobky - prírodné syry</c:v>
                </c:pt>
                <c:pt idx="8">
                  <c:v>cestoviny</c:v>
                </c:pt>
                <c:pt idx="9">
                  <c:v>spracované produkty</c:v>
                </c:pt>
                <c:pt idx="10">
                  <c:v>trvanlivé pečivo (balené)</c:v>
                </c:pt>
                <c:pt idx="11">
                  <c:v>nealko</c:v>
                </c:pt>
                <c:pt idx="12">
                  <c:v>cukrovinky - čokoládové</c:v>
                </c:pt>
                <c:pt idx="13">
                  <c:v>konzervované produkty</c:v>
                </c:pt>
                <c:pt idx="14">
                  <c:v>oleje</c:v>
                </c:pt>
                <c:pt idx="15">
                  <c:v>cukrovinky - nečokoládové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62.337442490268678</c:v>
                </c:pt>
                <c:pt idx="1">
                  <c:v>63.386656251662515</c:v>
                </c:pt>
                <c:pt idx="2">
                  <c:v>41.961680436633422</c:v>
                </c:pt>
                <c:pt idx="3">
                  <c:v>32.926475715117824</c:v>
                </c:pt>
                <c:pt idx="4">
                  <c:v>40.774147779069658</c:v>
                </c:pt>
                <c:pt idx="5">
                  <c:v>37.892901900420028</c:v>
                </c:pt>
                <c:pt idx="6">
                  <c:v>38.384069578834442</c:v>
                </c:pt>
                <c:pt idx="7">
                  <c:v>40.821285466626101</c:v>
                </c:pt>
                <c:pt idx="8">
                  <c:v>22.845382660648632</c:v>
                </c:pt>
                <c:pt idx="9">
                  <c:v>23.730456456489371</c:v>
                </c:pt>
                <c:pt idx="10">
                  <c:v>21.40426027769654</c:v>
                </c:pt>
                <c:pt idx="11">
                  <c:v>15.422291894415595</c:v>
                </c:pt>
                <c:pt idx="12">
                  <c:v>12.714308482464158</c:v>
                </c:pt>
                <c:pt idx="13">
                  <c:v>11.598124953663181</c:v>
                </c:pt>
                <c:pt idx="14">
                  <c:v>14.199941420280693</c:v>
                </c:pt>
                <c:pt idx="15">
                  <c:v>7.7512663789126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F0-4169-A345-996609041C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9848704"/>
        <c:axId val="29850240"/>
      </c:barChart>
      <c:catAx>
        <c:axId val="29848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137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sk-SK"/>
          </a:p>
        </c:txPr>
        <c:crossAx val="298502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9850240"/>
        <c:scaling>
          <c:orientation val="minMax"/>
          <c:max val="100"/>
        </c:scaling>
        <c:delete val="1"/>
        <c:axPos val="t"/>
        <c:numFmt formatCode="0&quot;%&quot;" sourceLinked="0"/>
        <c:majorTickMark val="out"/>
        <c:minorTickMark val="none"/>
        <c:tickLblPos val="none"/>
        <c:crossAx val="29848704"/>
        <c:crosses val="autoZero"/>
        <c:crossBetween val="between"/>
        <c:majorUnit val="25"/>
      </c:valAx>
      <c:spPr>
        <a:noFill/>
        <a:ln w="250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89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133410066892995"/>
          <c:y val="2.0801468816856902E-2"/>
          <c:w val="0.53455343954017187"/>
          <c:h val="0.97919853118314326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rgbClr val="FA7222"/>
            </a:solidFill>
            <a:ln w="12549">
              <a:noFill/>
              <a:prstDash val="solid"/>
            </a:ln>
          </c:spPr>
          <c:invertIfNegative val="0"/>
          <c:dLbls>
            <c:numFmt formatCode="0&quot;%&quot;" sourceLinked="0"/>
            <c:spPr>
              <a:noFill/>
              <a:ln w="25099">
                <a:noFill/>
              </a:ln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mlieko</c:v>
                </c:pt>
                <c:pt idx="1">
                  <c:v>vody a minerálky neochut. a ochutené</c:v>
                </c:pt>
                <c:pt idx="2">
                  <c:v>víno</c:v>
                </c:pt>
                <c:pt idx="3">
                  <c:v>pivo</c:v>
                </c:pt>
                <c:pt idx="4">
                  <c:v>mliečne výrobky - ostatné</c:v>
                </c:pt>
                <c:pt idx="5">
                  <c:v>mäsové výrobky (balené, nemrazené)</c:v>
                </c:pt>
                <c:pt idx="6">
                  <c:v>liehoviny a destiláty</c:v>
                </c:pt>
                <c:pt idx="7">
                  <c:v>mliečne výrobky - prírodné syry</c:v>
                </c:pt>
                <c:pt idx="8">
                  <c:v>cestoviny</c:v>
                </c:pt>
                <c:pt idx="9">
                  <c:v>spracované produkty</c:v>
                </c:pt>
                <c:pt idx="10">
                  <c:v>trvanlivé pečivo (balené)</c:v>
                </c:pt>
                <c:pt idx="11">
                  <c:v>nealko</c:v>
                </c:pt>
                <c:pt idx="12">
                  <c:v>cukrovinky - čokoládové</c:v>
                </c:pt>
                <c:pt idx="13">
                  <c:v>konzervované produkty</c:v>
                </c:pt>
                <c:pt idx="14">
                  <c:v>oleje</c:v>
                </c:pt>
                <c:pt idx="15">
                  <c:v>cukrovinky - nečokoládové</c:v>
                </c:pt>
              </c:strCache>
            </c:strRef>
          </c:cat>
          <c:val>
            <c:numRef>
              <c:f>Sheet1!$B$2:$Q$2</c:f>
              <c:numCache>
                <c:formatCode>0.0</c:formatCode>
                <c:ptCount val="16"/>
                <c:pt idx="0">
                  <c:v>70.336773200902144</c:v>
                </c:pt>
                <c:pt idx="1">
                  <c:v>64.795423478608171</c:v>
                </c:pt>
                <c:pt idx="2">
                  <c:v>54.193297353957014</c:v>
                </c:pt>
                <c:pt idx="3">
                  <c:v>48.897136738123606</c:v>
                </c:pt>
                <c:pt idx="4">
                  <c:v>48.88228437023605</c:v>
                </c:pt>
                <c:pt idx="5">
                  <c:v>48.420037599363546</c:v>
                </c:pt>
                <c:pt idx="6">
                  <c:v>46.530013907884502</c:v>
                </c:pt>
                <c:pt idx="7">
                  <c:v>43.494748283373902</c:v>
                </c:pt>
                <c:pt idx="8">
                  <c:v>38.8479966381067</c:v>
                </c:pt>
                <c:pt idx="9">
                  <c:v>35.936241464029024</c:v>
                </c:pt>
                <c:pt idx="10">
                  <c:v>28.58079708715384</c:v>
                </c:pt>
                <c:pt idx="11">
                  <c:v>20.120571563694952</c:v>
                </c:pt>
                <c:pt idx="12">
                  <c:v>19.705827991695212</c:v>
                </c:pt>
                <c:pt idx="13">
                  <c:v>16.26724427062323</c:v>
                </c:pt>
                <c:pt idx="14">
                  <c:v>12.566531843621286</c:v>
                </c:pt>
                <c:pt idx="15">
                  <c:v>9.299956298015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84-4228-BABE-2FA772D297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589440"/>
        <c:axId val="22590976"/>
      </c:barChart>
      <c:catAx>
        <c:axId val="2258944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37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900" b="0">
                <a:solidFill>
                  <a:schemeClr val="bg1">
                    <a:lumMod val="50000"/>
                  </a:schemeClr>
                </a:solidFill>
              </a:defRPr>
            </a:pPr>
            <a:endParaRPr lang="sk-SK"/>
          </a:p>
        </c:txPr>
        <c:crossAx val="225909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590976"/>
        <c:scaling>
          <c:orientation val="minMax"/>
          <c:max val="75"/>
        </c:scaling>
        <c:delete val="1"/>
        <c:axPos val="t"/>
        <c:numFmt formatCode="0&quot;%&quot;" sourceLinked="0"/>
        <c:majorTickMark val="out"/>
        <c:minorTickMark val="none"/>
        <c:tickLblPos val="none"/>
        <c:crossAx val="22589440"/>
        <c:crosses val="autoZero"/>
        <c:crossBetween val="between"/>
        <c:majorUnit val="25"/>
      </c:valAx>
      <c:spPr>
        <a:noFill/>
        <a:ln w="250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89" b="0" i="0" u="none" strike="noStrike" baseline="0">
          <a:solidFill>
            <a:schemeClr val="tx1"/>
          </a:solidFill>
          <a:latin typeface="+mj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40264999600666"/>
          <c:y val="0"/>
          <c:w val="0.52454136387648764"/>
          <c:h val="1"/>
        </c:manualLayout>
      </c:layout>
      <c:doughnutChart>
        <c:varyColors val="1"/>
        <c:ser>
          <c:idx val="0"/>
          <c:order val="0"/>
          <c:spPr>
            <a:noFill/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rgbClr val="FA7222"/>
              </a:soli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9E-4DB5-A1F8-4A3A75CCCEE4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A9E-4DB5-A1F8-4A3A75CCCEE4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slovenské</c:v>
                </c:pt>
                <c:pt idx="1">
                  <c:v>zahraničné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40.381755995669387</c:v>
                </c:pt>
                <c:pt idx="1">
                  <c:v>5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9E-4DB5-A1F8-4A3A75CCCEE4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75"/>
      </c:doughnutChart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sk-SK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4,7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DE-4853-B84C-FDF55D6B9B04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DE-4853-B84C-FDF55D6B9B04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4.721444427085459</c:v>
                </c:pt>
                <c:pt idx="1">
                  <c:v>55.278555572914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DE-4853-B84C-FDF55D6B9B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solidFill>
              <a:srgbClr val="E55A00">
                <a:lumMod val="20000"/>
                <a:lumOff val="80000"/>
              </a:srgbClr>
            </a:solidFill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89B-4593-8044-4C3C9A667BA2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89B-4593-8044-4C3C9A667BA2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434875691134366</c:v>
                </c:pt>
                <c:pt idx="1">
                  <c:v>59.565124308865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9B-4593-8044-4C3C9A667B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  <c:txPr>
        <a:bodyPr/>
        <a:lstStyle/>
        <a:p>
          <a:pPr>
            <a:defRPr sz="1800" b="1">
              <a:solidFill>
                <a:srgbClr val="FA7222"/>
              </a:solidFill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6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1F-413E-8605-9C019DB3F576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1F-413E-8605-9C019DB3F576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585640856937871</c:v>
                </c:pt>
                <c:pt idx="1">
                  <c:v>59.414359143062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1F-413E-8605-9C019DB3F5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AA-4477-B48E-A579D6638B91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AA-4477-B48E-A579D6638B91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381755995669387</c:v>
                </c:pt>
                <c:pt idx="1">
                  <c:v>59.618244004330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AA-4477-B48E-A579D6638B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153697729424394"/>
          <c:y val="0.37082895636050917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7782782979111383"/>
          <c:y val="5.3254347368150282E-2"/>
          <c:w val="0.687966808058598"/>
          <c:h val="0.90227885308596567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33,4%</c:v>
                </c:pt>
              </c:strCache>
            </c:strRef>
          </c:tx>
          <c:spPr>
            <a:ln w="3175">
              <a:noFill/>
            </a:ln>
          </c:spPr>
          <c:dPt>
            <c:idx val="0"/>
            <c:bubble3D val="0"/>
            <c:spPr>
              <a:solidFill>
                <a:srgbClr val="FA722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F-497E-BFDC-C3812409E720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F-497E-BFDC-C3812409E720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33.369717489423444</c:v>
                </c:pt>
                <c:pt idx="1">
                  <c:v>66.630282510576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4F-497E-BFDC-C3812409E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4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rgbClr val="FA7222"/>
          </a:solidFill>
        </a:defRPr>
      </a:pPr>
      <a:endParaRPr lang="sk-SK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500778660752038"/>
          <c:y val="3.0314531163099338E-2"/>
          <c:w val="0.7210756499102432"/>
          <c:h val="0.94570198031067221"/>
        </c:manualLayout>
      </c:layout>
      <c:doughnutChart>
        <c:varyColors val="1"/>
        <c:ser>
          <c:idx val="0"/>
          <c:order val="0"/>
          <c:tx>
            <c:strRef>
              <c:f>Hárok1!$B$2</c:f>
              <c:strCache>
                <c:ptCount val="1"/>
                <c:pt idx="0">
                  <c:v>40,4%</c:v>
                </c:pt>
              </c:strCache>
            </c:strRef>
          </c:tx>
          <c:spPr>
            <a:ln w="6350">
              <a:solidFill>
                <a:srgbClr val="BFBFBF"/>
              </a:solidFill>
            </a:ln>
          </c:spPr>
          <c:dPt>
            <c:idx val="0"/>
            <c:bubble3D val="0"/>
            <c:spPr>
              <a:solidFill>
                <a:srgbClr val="E55A00">
                  <a:lumMod val="20000"/>
                  <a:lumOff val="80000"/>
                </a:srgbClr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D67-46D1-8162-0BAC0698AC23}"/>
              </c:ext>
            </c:extLst>
          </c:dPt>
          <c:dPt>
            <c:idx val="1"/>
            <c:bubble3D val="0"/>
            <c:spPr>
              <a:solidFill>
                <a:srgbClr val="E8E8E8"/>
              </a:solidFill>
              <a:ln w="6350"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D67-46D1-8162-0BAC0698AC23}"/>
              </c:ext>
            </c:extLst>
          </c:dPt>
          <c:cat>
            <c:numRef>
              <c:f>Hárok1!$A$2:$A$3</c:f>
              <c:numCache>
                <c:formatCode>General</c:formatCode>
                <c:ptCount val="2"/>
              </c:numCache>
            </c:numRef>
          </c:cat>
          <c:val>
            <c:numRef>
              <c:f>Hárok1!$B$2:$B$3</c:f>
              <c:numCache>
                <c:formatCode>0.0</c:formatCode>
                <c:ptCount val="2"/>
                <c:pt idx="0" formatCode="0.0&quot;%&quot;">
                  <c:v>40.381755995669387</c:v>
                </c:pt>
                <c:pt idx="1">
                  <c:v>59.618244004330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67-46D1-8162-0BAC0698A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6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86108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09271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41348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11EF6-26B5-E7BC-1042-4AD92C316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>
            <a:extLst>
              <a:ext uri="{FF2B5EF4-FFF2-40B4-BE49-F238E27FC236}">
                <a16:creationId xmlns:a16="http://schemas.microsoft.com/office/drawing/2014/main" id="{C2FA45DF-DE58-1271-B0E7-195997119A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Zástupný objekt pre poznámky 2">
            <a:extLst>
              <a:ext uri="{FF2B5EF4-FFF2-40B4-BE49-F238E27FC236}">
                <a16:creationId xmlns:a16="http://schemas.microsoft.com/office/drawing/2014/main" id="{9BFF486C-E1D9-F5FB-04A9-7760C6396D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59979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A427D2-8EDE-69C5-9196-FF7C88E6B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>
            <a:extLst>
              <a:ext uri="{FF2B5EF4-FFF2-40B4-BE49-F238E27FC236}">
                <a16:creationId xmlns:a16="http://schemas.microsoft.com/office/drawing/2014/main" id="{211E370B-7B1B-108B-F040-7F30B1AFD1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Zástupný objekt pre poznámky 2">
            <a:extLst>
              <a:ext uri="{FF2B5EF4-FFF2-40B4-BE49-F238E27FC236}">
                <a16:creationId xmlns:a16="http://schemas.microsoft.com/office/drawing/2014/main" id="{CDE90081-E93F-788E-1578-CBA7CEDD8E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6635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E8AAA93-CD0E-452B-9D51-063FDA2B8E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00873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oniec Ra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28" name="BlokTextu 27">
            <a:extLst>
              <a:ext uri="{FF2B5EF4-FFF2-40B4-BE49-F238E27FC236}">
                <a16:creationId xmlns:a16="http://schemas.microsoft.com/office/drawing/2014/main" id="{03AF6423-C74E-46C4-B7ED-A876A8117797}"/>
              </a:ext>
            </a:extLst>
          </p:cNvPr>
          <p:cNvSpPr txBox="1"/>
          <p:nvPr userDrawn="1"/>
        </p:nvSpPr>
        <p:spPr bwMode="gray">
          <a:xfrm>
            <a:off x="7451367" y="3069566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pic>
        <p:nvPicPr>
          <p:cNvPr id="19" name="Obrázok 18">
            <a:hlinkClick r:id="rId3"/>
            <a:extLst>
              <a:ext uri="{FF2B5EF4-FFF2-40B4-BE49-F238E27FC236}">
                <a16:creationId xmlns:a16="http://schemas.microsoft.com/office/drawing/2014/main" id="{68A72D57-6FA7-43FF-9AD9-CBBDAD8A28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3929395"/>
            <a:ext cx="642468" cy="174430"/>
          </a:xfrm>
          <a:prstGeom prst="rect">
            <a:avLst/>
          </a:prstGeom>
        </p:spPr>
      </p:pic>
      <p:pic>
        <p:nvPicPr>
          <p:cNvPr id="23" name="Obrázok 22" descr="Obrázok, na ktorom je ClipArt&#10;&#10;Automaticky generovaný popis">
            <a:extLst>
              <a:ext uri="{FF2B5EF4-FFF2-40B4-BE49-F238E27FC236}">
                <a16:creationId xmlns:a16="http://schemas.microsoft.com/office/drawing/2014/main" id="{665BA1A3-95D7-4DF9-A281-DE843D481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599" y="3930308"/>
            <a:ext cx="200659" cy="197011"/>
          </a:xfrm>
          <a:prstGeom prst="rect">
            <a:avLst/>
          </a:prstGeom>
        </p:spPr>
      </p:pic>
      <p:cxnSp>
        <p:nvCxnSpPr>
          <p:cNvPr id="24" name="Rovná spojnica 23">
            <a:extLst>
              <a:ext uri="{FF2B5EF4-FFF2-40B4-BE49-F238E27FC236}">
                <a16:creationId xmlns:a16="http://schemas.microsoft.com/office/drawing/2014/main" id="{C9DB6B31-8834-458C-A3EA-6C4F304A852D}"/>
              </a:ext>
            </a:extLst>
          </p:cNvPr>
          <p:cNvCxnSpPr/>
          <p:nvPr userDrawn="1"/>
        </p:nvCxnSpPr>
        <p:spPr>
          <a:xfrm>
            <a:off x="8244222" y="3884797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bdĺžnik 26">
            <a:extLst>
              <a:ext uri="{FF2B5EF4-FFF2-40B4-BE49-F238E27FC236}">
                <a16:creationId xmlns:a16="http://schemas.microsoft.com/office/drawing/2014/main" id="{972313CD-6217-4FEC-99C5-E719CB5CBA3D}"/>
              </a:ext>
            </a:extLst>
          </p:cNvPr>
          <p:cNvSpPr/>
          <p:nvPr userDrawn="1"/>
        </p:nvSpPr>
        <p:spPr>
          <a:xfrm>
            <a:off x="7371136" y="2356595"/>
            <a:ext cx="1521345" cy="246221"/>
          </a:xfrm>
          <a:prstGeom prst="rect">
            <a:avLst/>
          </a:prstGeom>
        </p:spPr>
        <p:txBody>
          <a:bodyPr tIns="0"/>
          <a:lstStyle/>
          <a:p>
            <a: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sk-SK" sz="1000" b="1" i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Rastislav Kočan</a:t>
            </a:r>
          </a:p>
        </p:txBody>
      </p:sp>
      <p:sp>
        <p:nvSpPr>
          <p:cNvPr id="33" name="Obdĺžnik 32">
            <a:extLst>
              <a:ext uri="{FF2B5EF4-FFF2-40B4-BE49-F238E27FC236}">
                <a16:creationId xmlns:a16="http://schemas.microsoft.com/office/drawing/2014/main" id="{32C95099-0916-4BCD-AD81-F46B2E698783}"/>
              </a:ext>
            </a:extLst>
          </p:cNvPr>
          <p:cNvSpPr/>
          <p:nvPr userDrawn="1"/>
        </p:nvSpPr>
        <p:spPr>
          <a:xfrm>
            <a:off x="7371136" y="2543645"/>
            <a:ext cx="1183337" cy="246221"/>
          </a:xfrm>
          <a:prstGeom prst="rect">
            <a:avLst/>
          </a:prstGeom>
        </p:spPr>
        <p:txBody>
          <a:bodyPr tIns="0"/>
          <a:lstStyle/>
          <a:p>
            <a: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sk-SK" sz="900" b="0" i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Managing</a:t>
            </a:r>
            <a:r>
              <a:rPr lang="sk-SK" sz="900" b="0" i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Arial" pitchFamily="34" charset="0"/>
              </a:rPr>
              <a:t> partner</a:t>
            </a:r>
          </a:p>
        </p:txBody>
      </p:sp>
      <p:sp>
        <p:nvSpPr>
          <p:cNvPr id="34" name="Obdĺžnik 33">
            <a:extLst>
              <a:ext uri="{FF2B5EF4-FFF2-40B4-BE49-F238E27FC236}">
                <a16:creationId xmlns:a16="http://schemas.microsoft.com/office/drawing/2014/main" id="{1B51CD8E-D83C-4ED8-B0AA-807B89318625}"/>
              </a:ext>
            </a:extLst>
          </p:cNvPr>
          <p:cNvSpPr/>
          <p:nvPr userDrawn="1"/>
        </p:nvSpPr>
        <p:spPr>
          <a:xfrm>
            <a:off x="7371135" y="2726500"/>
            <a:ext cx="1574551" cy="230832"/>
          </a:xfrm>
          <a:prstGeom prst="rect">
            <a:avLst/>
          </a:prstGeom>
        </p:spPr>
        <p:txBody>
          <a:bodyPr tIns="0"/>
          <a:lstStyle/>
          <a:p>
            <a: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sk-SK" sz="900" b="1" i="0">
                <a:solidFill>
                  <a:srgbClr val="F36F21"/>
                </a:solidFill>
                <a:effectLst/>
                <a:latin typeface="Arial" pitchFamily="34" charset="0"/>
                <a:cs typeface="Arial" pitchFamily="34" charset="0"/>
              </a:rPr>
              <a:t>kocan@go4insight.com</a:t>
            </a:r>
          </a:p>
        </p:txBody>
      </p:sp>
      <p:pic>
        <p:nvPicPr>
          <p:cNvPr id="4" name="Obrázok 3" descr="Obrázok, na ktorom je osoba, ošatenie, stojaci, ľudská tvár&#10;&#10;Automaticky generovaný popis">
            <a:extLst>
              <a:ext uri="{FF2B5EF4-FFF2-40B4-BE49-F238E27FC236}">
                <a16:creationId xmlns:a16="http://schemas.microsoft.com/office/drawing/2014/main" id="{C6AE4EC3-6309-8E47-9445-08B9259A59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1367" y="850142"/>
            <a:ext cx="935976" cy="140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700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4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50A2DAF2-36A9-4DA2-B15F-17154B7A774B}"/>
              </a:ext>
            </a:extLst>
          </p:cNvPr>
          <p:cNvSpPr/>
          <p:nvPr userDrawn="1"/>
        </p:nvSpPr>
        <p:spPr bwMode="gray">
          <a:xfrm>
            <a:off x="6685" y="3505263"/>
            <a:ext cx="9148161" cy="931862"/>
          </a:xfrm>
          <a:prstGeom prst="rect">
            <a:avLst/>
          </a:prstGeom>
          <a:gradFill flip="none" rotWithShape="1">
            <a:gsLst>
              <a:gs pos="47000">
                <a:schemeClr val="bg1"/>
              </a:gs>
              <a:gs pos="9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CDC8B7A-E56D-4910-9AE5-427F7969D3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26150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E8AAA93-CD0E-452B-9D51-063FDA2B8E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84499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423DC3D-4B98-4B8E-8C79-FABCF029650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  <p:sp>
        <p:nvSpPr>
          <p:cNvPr id="6" name="Zástupný objekt pre text 14">
            <a:extLst>
              <a:ext uri="{FF2B5EF4-FFF2-40B4-BE49-F238E27FC236}">
                <a16:creationId xmlns:a16="http://schemas.microsoft.com/office/drawing/2014/main" id="{64B0DEEA-3E28-4D60-A2D0-8715EB79B1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4659313"/>
            <a:ext cx="8642350" cy="215900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Báza: xxx | Veľkosť vzorky: xxx | Číslo otázky a znenie </a:t>
            </a:r>
            <a:r>
              <a:rPr lang="sk-SK" err="1"/>
              <a:t>otazky</a:t>
            </a:r>
            <a:r>
              <a:rPr lang="sk-SK"/>
              <a:t> </a:t>
            </a:r>
          </a:p>
          <a:p>
            <a:pPr lvl="0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32925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dĺžnik 18">
            <a:extLst>
              <a:ext uri="{FF2B5EF4-FFF2-40B4-BE49-F238E27FC236}">
                <a16:creationId xmlns:a16="http://schemas.microsoft.com/office/drawing/2014/main" id="{99B34934-1A16-4BBA-8987-35FB0830777A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gradFill flip="none" rotWithShape="1">
            <a:gsLst>
              <a:gs pos="13000">
                <a:srgbClr val="F9B200">
                  <a:alpha val="50000"/>
                </a:srgbClr>
              </a:gs>
              <a:gs pos="74000">
                <a:srgbClr val="FFD600">
                  <a:alpha val="5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7">
            <a:extLst>
              <a:ext uri="{FF2B5EF4-FFF2-40B4-BE49-F238E27FC236}">
                <a16:creationId xmlns:a16="http://schemas.microsoft.com/office/drawing/2014/main" id="{364B41F3-1A36-4B20-B3E3-6D9B10F23953}"/>
              </a:ext>
            </a:extLst>
          </p:cNvPr>
          <p:cNvSpPr/>
          <p:nvPr userDrawn="1"/>
        </p:nvSpPr>
        <p:spPr bwMode="gray">
          <a:xfrm rot="19461961">
            <a:off x="2949319" y="278922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bdĺžnik: odstrihnutý jeden roh 20">
            <a:extLst>
              <a:ext uri="{FF2B5EF4-FFF2-40B4-BE49-F238E27FC236}">
                <a16:creationId xmlns:a16="http://schemas.microsoft.com/office/drawing/2014/main" id="{E3EB2238-E671-4FDC-B13A-CD29E8F5AA51}"/>
              </a:ext>
            </a:extLst>
          </p:cNvPr>
          <p:cNvSpPr/>
          <p:nvPr userDrawn="1"/>
        </p:nvSpPr>
        <p:spPr bwMode="gray">
          <a:xfrm>
            <a:off x="2879812" y="3363838"/>
            <a:ext cx="6012668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63838"/>
            <a:ext cx="6012669" cy="12241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kapitoly</a:t>
            </a:r>
            <a:endParaRPr lang="en-US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9144000" cy="9515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79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ĺžnik 5">
            <a:extLst>
              <a:ext uri="{FF2B5EF4-FFF2-40B4-BE49-F238E27FC236}">
                <a16:creationId xmlns:a16="http://schemas.microsoft.com/office/drawing/2014/main" id="{84A2D70F-5EB3-4C5B-8D49-F5BE3F316E0F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dĺžnik: odstrihnutý jeden roh 7">
            <a:extLst>
              <a:ext uri="{FF2B5EF4-FFF2-40B4-BE49-F238E27FC236}">
                <a16:creationId xmlns:a16="http://schemas.microsoft.com/office/drawing/2014/main" id="{EDC4CA7D-F464-4EE3-83E4-C297A2F79941}"/>
              </a:ext>
            </a:extLst>
          </p:cNvPr>
          <p:cNvSpPr/>
          <p:nvPr userDrawn="1"/>
        </p:nvSpPr>
        <p:spPr bwMode="gray">
          <a:xfrm rot="19461961">
            <a:off x="2949319" y="279810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bdĺžnik: odstrihnutý jeden roh 9">
            <a:extLst>
              <a:ext uri="{FF2B5EF4-FFF2-40B4-BE49-F238E27FC236}">
                <a16:creationId xmlns:a16="http://schemas.microsoft.com/office/drawing/2014/main" id="{C472A17A-021E-4B06-ABE8-974A7C7E5144}"/>
              </a:ext>
            </a:extLst>
          </p:cNvPr>
          <p:cNvSpPr/>
          <p:nvPr userDrawn="1"/>
        </p:nvSpPr>
        <p:spPr bwMode="gray">
          <a:xfrm>
            <a:off x="2879811" y="3363838"/>
            <a:ext cx="6012669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6D50F"/>
              </a:gs>
              <a:gs pos="69000">
                <a:srgbClr val="F0AB00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63A0DB9-F71E-4DD7-9949-BC9EB27D5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34172"/>
            <a:ext cx="6012669" cy="12538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podkapito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7923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kujem za pozornos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A2998896-BB4D-49B4-AF33-EA86C694AD02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dĺžnik: odstrihnutý jeden roh 11">
            <a:extLst>
              <a:ext uri="{FF2B5EF4-FFF2-40B4-BE49-F238E27FC236}">
                <a16:creationId xmlns:a16="http://schemas.microsoft.com/office/drawing/2014/main" id="{3CEB804A-A9B8-4C7D-BEB7-B773699191CB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AA12FD83-AC21-4A59-A96B-BE2D7D91E47D}"/>
              </a:ext>
            </a:extLst>
          </p:cNvPr>
          <p:cNvSpPr txBox="1"/>
          <p:nvPr userDrawn="1"/>
        </p:nvSpPr>
        <p:spPr bwMode="gray">
          <a:xfrm>
            <a:off x="1583668" y="1970239"/>
            <a:ext cx="4716524" cy="13158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sk-SK" sz="4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Ďakujeme</a:t>
            </a: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                   za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40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ozornosť</a:t>
            </a:r>
            <a:endParaRPr lang="sk-SK" sz="3200" b="1">
              <a:solidFill>
                <a:schemeClr val="bg1">
                  <a:alpha val="9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2E040B55-1DF5-4B82-A70D-B73A45A515F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pic>
        <p:nvPicPr>
          <p:cNvPr id="14" name="Obrázok 13">
            <a:extLst>
              <a:ext uri="{FF2B5EF4-FFF2-40B4-BE49-F238E27FC236}">
                <a16:creationId xmlns:a16="http://schemas.microsoft.com/office/drawing/2014/main" id="{81494C44-1F91-4BD3-B220-E71204476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67495"/>
            <a:ext cx="1464990" cy="34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798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a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3" name="Obdĺžnik 2">
            <a:extLst>
              <a:ext uri="{FF2B5EF4-FFF2-40B4-BE49-F238E27FC236}">
                <a16:creationId xmlns:a16="http://schemas.microsoft.com/office/drawing/2014/main" id="{42D5250A-50AD-4FA9-8B8F-0789D61FFA7F}"/>
              </a:ext>
            </a:extLst>
          </p:cNvPr>
          <p:cNvSpPr/>
          <p:nvPr userDrawn="1"/>
        </p:nvSpPr>
        <p:spPr>
          <a:xfrm>
            <a:off x="2231740" y="1561818"/>
            <a:ext cx="4572000" cy="2017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44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riestor</a:t>
            </a:r>
            <a:r>
              <a:rPr lang="sk-SK" sz="4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3600" b="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pre Vaše </a:t>
            </a:r>
          </a:p>
          <a:p>
            <a:pPr>
              <a:lnSpc>
                <a:spcPts val="5400"/>
              </a:lnSpc>
              <a:spcBef>
                <a:spcPts val="0"/>
              </a:spcBef>
            </a:pPr>
            <a:r>
              <a:rPr lang="sk-SK" sz="60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tázky</a:t>
            </a:r>
            <a:endParaRPr lang="sk-SK" sz="6000"/>
          </a:p>
        </p:txBody>
      </p:sp>
    </p:spTree>
    <p:extLst>
      <p:ext uri="{BB962C8B-B14F-4D97-AF65-F5344CB8AC3E}">
        <p14:creationId xmlns:p14="http://schemas.microsoft.com/office/powerpoint/2010/main" val="361507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68365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5481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pic>
        <p:nvPicPr>
          <p:cNvPr id="23" name="Obrázok 22">
            <a:hlinkClick r:id="rId3"/>
            <a:extLst>
              <a:ext uri="{FF2B5EF4-FFF2-40B4-BE49-F238E27FC236}">
                <a16:creationId xmlns:a16="http://schemas.microsoft.com/office/drawing/2014/main" id="{50E9691E-C234-439F-8CC9-23D16E17025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88510" y="3883111"/>
            <a:ext cx="642468" cy="174430"/>
          </a:xfrm>
          <a:prstGeom prst="rect">
            <a:avLst/>
          </a:prstGeom>
        </p:spPr>
      </p:pic>
      <p:pic>
        <p:nvPicPr>
          <p:cNvPr id="27" name="Obrázok 26" descr="Obrázok, na ktorom je ClipArt&#10;&#10;Automaticky generovaný popis">
            <a:extLst>
              <a:ext uri="{FF2B5EF4-FFF2-40B4-BE49-F238E27FC236}">
                <a16:creationId xmlns:a16="http://schemas.microsoft.com/office/drawing/2014/main" id="{69271AB3-C887-49AE-A7A2-72C4958B38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403789" y="3884024"/>
            <a:ext cx="200659" cy="197011"/>
          </a:xfrm>
          <a:prstGeom prst="rect">
            <a:avLst/>
          </a:prstGeom>
        </p:spPr>
      </p:pic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055018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cxnSp>
        <p:nvCxnSpPr>
          <p:cNvPr id="7" name="Rovná spojnica 6">
            <a:extLst>
              <a:ext uri="{FF2B5EF4-FFF2-40B4-BE49-F238E27FC236}">
                <a16:creationId xmlns:a16="http://schemas.microsoft.com/office/drawing/2014/main" id="{F8E0FE09-311A-4E6C-A611-EFA6323C0B80}"/>
              </a:ext>
            </a:extLst>
          </p:cNvPr>
          <p:cNvCxnSpPr/>
          <p:nvPr userDrawn="1"/>
        </p:nvCxnSpPr>
        <p:spPr>
          <a:xfrm>
            <a:off x="8280412" y="383851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061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28" name="BlokTextu 27">
            <a:extLst>
              <a:ext uri="{FF2B5EF4-FFF2-40B4-BE49-F238E27FC236}">
                <a16:creationId xmlns:a16="http://schemas.microsoft.com/office/drawing/2014/main" id="{03AF6423-C74E-46C4-B7ED-A876A8117797}"/>
              </a:ext>
            </a:extLst>
          </p:cNvPr>
          <p:cNvSpPr txBox="1"/>
          <p:nvPr userDrawn="1"/>
        </p:nvSpPr>
        <p:spPr bwMode="gray">
          <a:xfrm>
            <a:off x="7451367" y="3069566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A00C82BC-7FE2-4539-B01D-527E9BE969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915566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3E8E99CA-C573-4AEA-A10D-237D6E7A8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72881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36C1FD2C-A8D7-46F8-BE8F-8BE4196C8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52649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1C9AFC43-F6EA-403C-92D4-440A9F932B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44762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19" name="Obrázok 18">
            <a:hlinkClick r:id="rId3"/>
            <a:extLst>
              <a:ext uri="{FF2B5EF4-FFF2-40B4-BE49-F238E27FC236}">
                <a16:creationId xmlns:a16="http://schemas.microsoft.com/office/drawing/2014/main" id="{68A72D57-6FA7-43FF-9AD9-CBBDAD8A28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2320" y="3929395"/>
            <a:ext cx="642468" cy="174430"/>
          </a:xfrm>
          <a:prstGeom prst="rect">
            <a:avLst/>
          </a:prstGeom>
        </p:spPr>
      </p:pic>
      <p:pic>
        <p:nvPicPr>
          <p:cNvPr id="23" name="Obrázok 22" descr="Obrázok, na ktorom je ClipArt&#10;&#10;Automaticky generovaný popis">
            <a:extLst>
              <a:ext uri="{FF2B5EF4-FFF2-40B4-BE49-F238E27FC236}">
                <a16:creationId xmlns:a16="http://schemas.microsoft.com/office/drawing/2014/main" id="{665BA1A3-95D7-4DF9-A281-DE843D481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367599" y="3930308"/>
            <a:ext cx="200659" cy="197011"/>
          </a:xfrm>
          <a:prstGeom prst="rect">
            <a:avLst/>
          </a:prstGeom>
        </p:spPr>
      </p:pic>
      <p:cxnSp>
        <p:nvCxnSpPr>
          <p:cNvPr id="24" name="Rovná spojnica 23">
            <a:extLst>
              <a:ext uri="{FF2B5EF4-FFF2-40B4-BE49-F238E27FC236}">
                <a16:creationId xmlns:a16="http://schemas.microsoft.com/office/drawing/2014/main" id="{C9DB6B31-8834-458C-A3EA-6C4F304A852D}"/>
              </a:ext>
            </a:extLst>
          </p:cNvPr>
          <p:cNvCxnSpPr/>
          <p:nvPr userDrawn="1"/>
        </p:nvCxnSpPr>
        <p:spPr>
          <a:xfrm>
            <a:off x="8244222" y="3884797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890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0" y="8493"/>
            <a:ext cx="9148239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558493" y="-39477"/>
            <a:ext cx="4606633" cy="5220580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690344" y="1209797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15218" y="280373"/>
            <a:ext cx="1464990" cy="347161"/>
          </a:xfrm>
          <a:prstGeom prst="rect">
            <a:avLst/>
          </a:prstGeom>
        </p:spPr>
      </p:pic>
      <p:sp>
        <p:nvSpPr>
          <p:cNvPr id="23" name="BlokTextu 22">
            <a:extLst>
              <a:ext uri="{FF2B5EF4-FFF2-40B4-BE49-F238E27FC236}">
                <a16:creationId xmlns:a16="http://schemas.microsoft.com/office/drawing/2014/main" id="{883D1A4D-C643-4704-BAF2-7216E83F95BA}"/>
              </a:ext>
            </a:extLst>
          </p:cNvPr>
          <p:cNvSpPr txBox="1"/>
          <p:nvPr userDrawn="1"/>
        </p:nvSpPr>
        <p:spPr bwMode="gray">
          <a:xfrm>
            <a:off x="7451367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4" name="Zástupný objekt pre obrázok 2">
            <a:extLst>
              <a:ext uri="{FF2B5EF4-FFF2-40B4-BE49-F238E27FC236}">
                <a16:creationId xmlns:a16="http://schemas.microsoft.com/office/drawing/2014/main" id="{2F2A144B-7D99-4FF1-A936-9E797C5F49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25" name="Zástupný objekt pre text 14">
            <a:extLst>
              <a:ext uri="{FF2B5EF4-FFF2-40B4-BE49-F238E27FC236}">
                <a16:creationId xmlns:a16="http://schemas.microsoft.com/office/drawing/2014/main" id="{56B3E3AA-BC44-42F5-B205-CB6BC68EB0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26" name="Zástupný objekt pre text 14">
            <a:extLst>
              <a:ext uri="{FF2B5EF4-FFF2-40B4-BE49-F238E27FC236}">
                <a16:creationId xmlns:a16="http://schemas.microsoft.com/office/drawing/2014/main" id="{08096189-42C2-4216-83BD-BE7152E0B2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27" name="Zástupný objekt pre text 14">
            <a:extLst>
              <a:ext uri="{FF2B5EF4-FFF2-40B4-BE49-F238E27FC236}">
                <a16:creationId xmlns:a16="http://schemas.microsoft.com/office/drawing/2014/main" id="{3689D54E-7652-40D5-A52E-426583CB0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3B49CDAA-5AB1-4C1F-A4AE-F4B4A991FC0D}"/>
              </a:ext>
            </a:extLst>
          </p:cNvPr>
          <p:cNvSpPr txBox="1"/>
          <p:nvPr userDrawn="1"/>
        </p:nvSpPr>
        <p:spPr bwMode="gray">
          <a:xfrm>
            <a:off x="5815218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51D111D7-FDC7-4D4C-B27B-ACC65123AD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36214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9CBF47E4-2773-4D10-AC96-8B3751111B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789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47E61F86-B95F-4D93-A389-91578C141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36789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2F39CB33-773B-4165-88FA-F425693FCF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30439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33" name="Obrázok 32">
            <a:hlinkClick r:id="rId3"/>
            <a:extLst>
              <a:ext uri="{FF2B5EF4-FFF2-40B4-BE49-F238E27FC236}">
                <a16:creationId xmlns:a16="http://schemas.microsoft.com/office/drawing/2014/main" id="{ADB8EA22-B2E9-48D3-9904-3582C7BD69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15218" y="3916581"/>
            <a:ext cx="642468" cy="174430"/>
          </a:xfrm>
          <a:prstGeom prst="rect">
            <a:avLst/>
          </a:prstGeom>
        </p:spPr>
      </p:pic>
      <p:pic>
        <p:nvPicPr>
          <p:cNvPr id="34" name="Obrázok 33" descr="Obrázok, na ktorom je ClipArt&#10;&#10;Automaticky generovaný popis">
            <a:extLst>
              <a:ext uri="{FF2B5EF4-FFF2-40B4-BE49-F238E27FC236}">
                <a16:creationId xmlns:a16="http://schemas.microsoft.com/office/drawing/2014/main" id="{461AC8DC-9C67-4635-A258-7B6DC6184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6730497" y="3917494"/>
            <a:ext cx="200659" cy="197011"/>
          </a:xfrm>
          <a:prstGeom prst="rect">
            <a:avLst/>
          </a:prstGeom>
        </p:spPr>
      </p:pic>
      <p:cxnSp>
        <p:nvCxnSpPr>
          <p:cNvPr id="35" name="Rovná spojnica 34">
            <a:extLst>
              <a:ext uri="{FF2B5EF4-FFF2-40B4-BE49-F238E27FC236}">
                <a16:creationId xmlns:a16="http://schemas.microsoft.com/office/drawing/2014/main" id="{3AD5E5FF-C670-402B-8DB8-A556D6A455BB}"/>
              </a:ext>
            </a:extLst>
          </p:cNvPr>
          <p:cNvCxnSpPr/>
          <p:nvPr userDrawn="1"/>
        </p:nvCxnSpPr>
        <p:spPr>
          <a:xfrm>
            <a:off x="6607120" y="387198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47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3307098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140966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ymbol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ymbol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1839826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352501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865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9383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15865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7195425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81378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95815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6579757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551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3035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678959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3843957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26307504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4040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4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50A2DAF2-36A9-4DA2-B15F-17154B7A774B}"/>
              </a:ext>
            </a:extLst>
          </p:cNvPr>
          <p:cNvSpPr/>
          <p:nvPr userDrawn="1"/>
        </p:nvSpPr>
        <p:spPr bwMode="gray">
          <a:xfrm>
            <a:off x="6685" y="3505263"/>
            <a:ext cx="9148161" cy="931862"/>
          </a:xfrm>
          <a:prstGeom prst="rect">
            <a:avLst/>
          </a:prstGeom>
          <a:gradFill flip="none" rotWithShape="1">
            <a:gsLst>
              <a:gs pos="47000">
                <a:schemeClr val="bg1"/>
              </a:gs>
              <a:gs pos="9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CDC8B7A-E56D-4910-9AE5-427F7969D3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94276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E8AAA93-CD0E-452B-9D51-063FDA2B8E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46792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423DC3D-4B98-4B8E-8C79-FABCF029650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  <p:sp>
        <p:nvSpPr>
          <p:cNvPr id="6" name="Zástupný objekt pre text 14">
            <a:extLst>
              <a:ext uri="{FF2B5EF4-FFF2-40B4-BE49-F238E27FC236}">
                <a16:creationId xmlns:a16="http://schemas.microsoft.com/office/drawing/2014/main" id="{64B0DEEA-3E28-4D60-A2D0-8715EB79B1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4659313"/>
            <a:ext cx="8642350" cy="215900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Báza: xxx | Veľkosť vzorky: xxx | Číslo otázky a znenie </a:t>
            </a:r>
            <a:r>
              <a:rPr lang="sk-SK" err="1"/>
              <a:t>otazky</a:t>
            </a:r>
            <a:r>
              <a:rPr lang="sk-SK"/>
              <a:t> </a:t>
            </a:r>
          </a:p>
          <a:p>
            <a:pPr lvl="0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611689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dĺžnik 18">
            <a:extLst>
              <a:ext uri="{FF2B5EF4-FFF2-40B4-BE49-F238E27FC236}">
                <a16:creationId xmlns:a16="http://schemas.microsoft.com/office/drawing/2014/main" id="{99B34934-1A16-4BBA-8987-35FB0830777A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gradFill flip="none" rotWithShape="1">
            <a:gsLst>
              <a:gs pos="13000">
                <a:srgbClr val="F9B200">
                  <a:alpha val="50000"/>
                </a:srgbClr>
              </a:gs>
              <a:gs pos="74000">
                <a:srgbClr val="FFD600">
                  <a:alpha val="5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7">
            <a:extLst>
              <a:ext uri="{FF2B5EF4-FFF2-40B4-BE49-F238E27FC236}">
                <a16:creationId xmlns:a16="http://schemas.microsoft.com/office/drawing/2014/main" id="{364B41F3-1A36-4B20-B3E3-6D9B10F23953}"/>
              </a:ext>
            </a:extLst>
          </p:cNvPr>
          <p:cNvSpPr/>
          <p:nvPr userDrawn="1"/>
        </p:nvSpPr>
        <p:spPr bwMode="gray">
          <a:xfrm rot="19461961">
            <a:off x="2949319" y="278922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bdĺžnik: odstrihnutý jeden roh 20">
            <a:extLst>
              <a:ext uri="{FF2B5EF4-FFF2-40B4-BE49-F238E27FC236}">
                <a16:creationId xmlns:a16="http://schemas.microsoft.com/office/drawing/2014/main" id="{E3EB2238-E671-4FDC-B13A-CD29E8F5AA51}"/>
              </a:ext>
            </a:extLst>
          </p:cNvPr>
          <p:cNvSpPr/>
          <p:nvPr userDrawn="1"/>
        </p:nvSpPr>
        <p:spPr bwMode="gray">
          <a:xfrm>
            <a:off x="2879812" y="3363838"/>
            <a:ext cx="6012668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63838"/>
            <a:ext cx="6012669" cy="12241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kapitoly</a:t>
            </a:r>
            <a:endParaRPr lang="en-US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9144000" cy="9515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2860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ĺžnik 5">
            <a:extLst>
              <a:ext uri="{FF2B5EF4-FFF2-40B4-BE49-F238E27FC236}">
                <a16:creationId xmlns:a16="http://schemas.microsoft.com/office/drawing/2014/main" id="{84A2D70F-5EB3-4C5B-8D49-F5BE3F316E0F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dĺžnik: odstrihnutý jeden roh 7">
            <a:extLst>
              <a:ext uri="{FF2B5EF4-FFF2-40B4-BE49-F238E27FC236}">
                <a16:creationId xmlns:a16="http://schemas.microsoft.com/office/drawing/2014/main" id="{EDC4CA7D-F464-4EE3-83E4-C297A2F79941}"/>
              </a:ext>
            </a:extLst>
          </p:cNvPr>
          <p:cNvSpPr/>
          <p:nvPr userDrawn="1"/>
        </p:nvSpPr>
        <p:spPr bwMode="gray">
          <a:xfrm rot="19461961">
            <a:off x="2949319" y="279810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bdĺžnik: odstrihnutý jeden roh 9">
            <a:extLst>
              <a:ext uri="{FF2B5EF4-FFF2-40B4-BE49-F238E27FC236}">
                <a16:creationId xmlns:a16="http://schemas.microsoft.com/office/drawing/2014/main" id="{C472A17A-021E-4B06-ABE8-974A7C7E5144}"/>
              </a:ext>
            </a:extLst>
          </p:cNvPr>
          <p:cNvSpPr/>
          <p:nvPr userDrawn="1"/>
        </p:nvSpPr>
        <p:spPr bwMode="gray">
          <a:xfrm>
            <a:off x="2879811" y="3363838"/>
            <a:ext cx="6012669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6D50F"/>
              </a:gs>
              <a:gs pos="69000">
                <a:srgbClr val="F0AB00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63A0DB9-F71E-4DD7-9949-BC9EB27D5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34172"/>
            <a:ext cx="6012669" cy="12538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podkapito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967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kujem za pozornos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A2998896-BB4D-49B4-AF33-EA86C694AD02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dĺžnik: odstrihnutý jeden roh 11">
            <a:extLst>
              <a:ext uri="{FF2B5EF4-FFF2-40B4-BE49-F238E27FC236}">
                <a16:creationId xmlns:a16="http://schemas.microsoft.com/office/drawing/2014/main" id="{3CEB804A-A9B8-4C7D-BEB7-B773699191CB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AA12FD83-AC21-4A59-A96B-BE2D7D91E47D}"/>
              </a:ext>
            </a:extLst>
          </p:cNvPr>
          <p:cNvSpPr txBox="1"/>
          <p:nvPr userDrawn="1"/>
        </p:nvSpPr>
        <p:spPr bwMode="gray">
          <a:xfrm>
            <a:off x="1583668" y="1970239"/>
            <a:ext cx="4716524" cy="13158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sk-SK" sz="4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Ďakujeme</a:t>
            </a: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                   za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40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ozornosť</a:t>
            </a:r>
            <a:endParaRPr lang="sk-SK" sz="3200" b="1">
              <a:solidFill>
                <a:schemeClr val="bg1">
                  <a:alpha val="9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2E040B55-1DF5-4B82-A70D-B73A45A515F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pic>
        <p:nvPicPr>
          <p:cNvPr id="14" name="Obrázok 13">
            <a:extLst>
              <a:ext uri="{FF2B5EF4-FFF2-40B4-BE49-F238E27FC236}">
                <a16:creationId xmlns:a16="http://schemas.microsoft.com/office/drawing/2014/main" id="{81494C44-1F91-4BD3-B220-E71204476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67495"/>
            <a:ext cx="1464990" cy="34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32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a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3" name="Obdĺžnik 2">
            <a:extLst>
              <a:ext uri="{FF2B5EF4-FFF2-40B4-BE49-F238E27FC236}">
                <a16:creationId xmlns:a16="http://schemas.microsoft.com/office/drawing/2014/main" id="{42D5250A-50AD-4FA9-8B8F-0789D61FFA7F}"/>
              </a:ext>
            </a:extLst>
          </p:cNvPr>
          <p:cNvSpPr/>
          <p:nvPr userDrawn="1"/>
        </p:nvSpPr>
        <p:spPr>
          <a:xfrm>
            <a:off x="2231740" y="1561818"/>
            <a:ext cx="4572000" cy="2017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44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riestor</a:t>
            </a:r>
            <a:r>
              <a:rPr lang="sk-SK" sz="4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3600" b="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pre Vaše </a:t>
            </a:r>
          </a:p>
          <a:p>
            <a:pPr>
              <a:lnSpc>
                <a:spcPts val="5400"/>
              </a:lnSpc>
              <a:spcBef>
                <a:spcPts val="0"/>
              </a:spcBef>
            </a:pPr>
            <a:r>
              <a:rPr lang="sk-SK" sz="60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tázky</a:t>
            </a:r>
            <a:endParaRPr lang="sk-SK" sz="6000"/>
          </a:p>
        </p:txBody>
      </p:sp>
    </p:spTree>
    <p:extLst>
      <p:ext uri="{BB962C8B-B14F-4D97-AF65-F5344CB8AC3E}">
        <p14:creationId xmlns:p14="http://schemas.microsoft.com/office/powerpoint/2010/main" val="6444904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68365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1480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pic>
        <p:nvPicPr>
          <p:cNvPr id="23" name="Obrázok 22">
            <a:hlinkClick r:id="rId3"/>
            <a:extLst>
              <a:ext uri="{FF2B5EF4-FFF2-40B4-BE49-F238E27FC236}">
                <a16:creationId xmlns:a16="http://schemas.microsoft.com/office/drawing/2014/main" id="{50E9691E-C234-439F-8CC9-23D16E17025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88510" y="3883111"/>
            <a:ext cx="642468" cy="174430"/>
          </a:xfrm>
          <a:prstGeom prst="rect">
            <a:avLst/>
          </a:prstGeom>
        </p:spPr>
      </p:pic>
      <p:pic>
        <p:nvPicPr>
          <p:cNvPr id="27" name="Obrázok 26" descr="Obrázok, na ktorom je ClipArt&#10;&#10;Automaticky generovaný popis">
            <a:extLst>
              <a:ext uri="{FF2B5EF4-FFF2-40B4-BE49-F238E27FC236}">
                <a16:creationId xmlns:a16="http://schemas.microsoft.com/office/drawing/2014/main" id="{69271AB3-C887-49AE-A7A2-72C4958B38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403789" y="3884024"/>
            <a:ext cx="200659" cy="197011"/>
          </a:xfrm>
          <a:prstGeom prst="rect">
            <a:avLst/>
          </a:prstGeom>
        </p:spPr>
      </p:pic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055018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cxnSp>
        <p:nvCxnSpPr>
          <p:cNvPr id="7" name="Rovná spojnica 6">
            <a:extLst>
              <a:ext uri="{FF2B5EF4-FFF2-40B4-BE49-F238E27FC236}">
                <a16:creationId xmlns:a16="http://schemas.microsoft.com/office/drawing/2014/main" id="{F8E0FE09-311A-4E6C-A611-EFA6323C0B80}"/>
              </a:ext>
            </a:extLst>
          </p:cNvPr>
          <p:cNvCxnSpPr/>
          <p:nvPr userDrawn="1"/>
        </p:nvCxnSpPr>
        <p:spPr>
          <a:xfrm>
            <a:off x="8280412" y="383851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0360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28" name="BlokTextu 27">
            <a:extLst>
              <a:ext uri="{FF2B5EF4-FFF2-40B4-BE49-F238E27FC236}">
                <a16:creationId xmlns:a16="http://schemas.microsoft.com/office/drawing/2014/main" id="{03AF6423-C74E-46C4-B7ED-A876A8117797}"/>
              </a:ext>
            </a:extLst>
          </p:cNvPr>
          <p:cNvSpPr txBox="1"/>
          <p:nvPr userDrawn="1"/>
        </p:nvSpPr>
        <p:spPr bwMode="gray">
          <a:xfrm>
            <a:off x="7451367" y="3069566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A00C82BC-7FE2-4539-B01D-527E9BE969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915566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3E8E99CA-C573-4AEA-A10D-237D6E7A8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72881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36C1FD2C-A8D7-46F8-BE8F-8BE4196C8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52649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1C9AFC43-F6EA-403C-92D4-440A9F932B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44762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19" name="Obrázok 18">
            <a:hlinkClick r:id="rId3"/>
            <a:extLst>
              <a:ext uri="{FF2B5EF4-FFF2-40B4-BE49-F238E27FC236}">
                <a16:creationId xmlns:a16="http://schemas.microsoft.com/office/drawing/2014/main" id="{68A72D57-6FA7-43FF-9AD9-CBBDAD8A28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2320" y="3929395"/>
            <a:ext cx="642468" cy="174430"/>
          </a:xfrm>
          <a:prstGeom prst="rect">
            <a:avLst/>
          </a:prstGeom>
        </p:spPr>
      </p:pic>
      <p:pic>
        <p:nvPicPr>
          <p:cNvPr id="23" name="Obrázok 22" descr="Obrázok, na ktorom je ClipArt&#10;&#10;Automaticky generovaný popis">
            <a:extLst>
              <a:ext uri="{FF2B5EF4-FFF2-40B4-BE49-F238E27FC236}">
                <a16:creationId xmlns:a16="http://schemas.microsoft.com/office/drawing/2014/main" id="{665BA1A3-95D7-4DF9-A281-DE843D481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367599" y="3930308"/>
            <a:ext cx="200659" cy="197011"/>
          </a:xfrm>
          <a:prstGeom prst="rect">
            <a:avLst/>
          </a:prstGeom>
        </p:spPr>
      </p:pic>
      <p:cxnSp>
        <p:nvCxnSpPr>
          <p:cNvPr id="24" name="Rovná spojnica 23">
            <a:extLst>
              <a:ext uri="{FF2B5EF4-FFF2-40B4-BE49-F238E27FC236}">
                <a16:creationId xmlns:a16="http://schemas.microsoft.com/office/drawing/2014/main" id="{C9DB6B31-8834-458C-A3EA-6C4F304A852D}"/>
              </a:ext>
            </a:extLst>
          </p:cNvPr>
          <p:cNvCxnSpPr/>
          <p:nvPr userDrawn="1"/>
        </p:nvCxnSpPr>
        <p:spPr>
          <a:xfrm>
            <a:off x="8244222" y="3884797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4524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0" y="8493"/>
            <a:ext cx="9148239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558493" y="-39477"/>
            <a:ext cx="4606633" cy="5220580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690344" y="1209797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15218" y="280373"/>
            <a:ext cx="1464990" cy="347161"/>
          </a:xfrm>
          <a:prstGeom prst="rect">
            <a:avLst/>
          </a:prstGeom>
        </p:spPr>
      </p:pic>
      <p:sp>
        <p:nvSpPr>
          <p:cNvPr id="23" name="BlokTextu 22">
            <a:extLst>
              <a:ext uri="{FF2B5EF4-FFF2-40B4-BE49-F238E27FC236}">
                <a16:creationId xmlns:a16="http://schemas.microsoft.com/office/drawing/2014/main" id="{883D1A4D-C643-4704-BAF2-7216E83F95BA}"/>
              </a:ext>
            </a:extLst>
          </p:cNvPr>
          <p:cNvSpPr txBox="1"/>
          <p:nvPr userDrawn="1"/>
        </p:nvSpPr>
        <p:spPr bwMode="gray">
          <a:xfrm>
            <a:off x="7451367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4" name="Zástupný objekt pre obrázok 2">
            <a:extLst>
              <a:ext uri="{FF2B5EF4-FFF2-40B4-BE49-F238E27FC236}">
                <a16:creationId xmlns:a16="http://schemas.microsoft.com/office/drawing/2014/main" id="{2F2A144B-7D99-4FF1-A936-9E797C5F49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25" name="Zástupný objekt pre text 14">
            <a:extLst>
              <a:ext uri="{FF2B5EF4-FFF2-40B4-BE49-F238E27FC236}">
                <a16:creationId xmlns:a16="http://schemas.microsoft.com/office/drawing/2014/main" id="{56B3E3AA-BC44-42F5-B205-CB6BC68EB0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26" name="Zástupný objekt pre text 14">
            <a:extLst>
              <a:ext uri="{FF2B5EF4-FFF2-40B4-BE49-F238E27FC236}">
                <a16:creationId xmlns:a16="http://schemas.microsoft.com/office/drawing/2014/main" id="{08096189-42C2-4216-83BD-BE7152E0B2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27" name="Zástupný objekt pre text 14">
            <a:extLst>
              <a:ext uri="{FF2B5EF4-FFF2-40B4-BE49-F238E27FC236}">
                <a16:creationId xmlns:a16="http://schemas.microsoft.com/office/drawing/2014/main" id="{3689D54E-7652-40D5-A52E-426583CB0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3B49CDAA-5AB1-4C1F-A4AE-F4B4A991FC0D}"/>
              </a:ext>
            </a:extLst>
          </p:cNvPr>
          <p:cNvSpPr txBox="1"/>
          <p:nvPr userDrawn="1"/>
        </p:nvSpPr>
        <p:spPr bwMode="gray">
          <a:xfrm>
            <a:off x="5815218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51D111D7-FDC7-4D4C-B27B-ACC65123AD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36214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9CBF47E4-2773-4D10-AC96-8B3751111B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789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47E61F86-B95F-4D93-A389-91578C141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36789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2F39CB33-773B-4165-88FA-F425693FCF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30439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33" name="Obrázok 32">
            <a:hlinkClick r:id="rId3"/>
            <a:extLst>
              <a:ext uri="{FF2B5EF4-FFF2-40B4-BE49-F238E27FC236}">
                <a16:creationId xmlns:a16="http://schemas.microsoft.com/office/drawing/2014/main" id="{ADB8EA22-B2E9-48D3-9904-3582C7BD69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15218" y="3916581"/>
            <a:ext cx="642468" cy="174430"/>
          </a:xfrm>
          <a:prstGeom prst="rect">
            <a:avLst/>
          </a:prstGeom>
        </p:spPr>
      </p:pic>
      <p:pic>
        <p:nvPicPr>
          <p:cNvPr id="34" name="Obrázok 33" descr="Obrázok, na ktorom je ClipArt&#10;&#10;Automaticky generovaný popis">
            <a:extLst>
              <a:ext uri="{FF2B5EF4-FFF2-40B4-BE49-F238E27FC236}">
                <a16:creationId xmlns:a16="http://schemas.microsoft.com/office/drawing/2014/main" id="{461AC8DC-9C67-4635-A258-7B6DC6184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6730497" y="3917494"/>
            <a:ext cx="200659" cy="197011"/>
          </a:xfrm>
          <a:prstGeom prst="rect">
            <a:avLst/>
          </a:prstGeom>
        </p:spPr>
      </p:pic>
      <p:cxnSp>
        <p:nvCxnSpPr>
          <p:cNvPr id="35" name="Rovná spojnica 34">
            <a:extLst>
              <a:ext uri="{FF2B5EF4-FFF2-40B4-BE49-F238E27FC236}">
                <a16:creationId xmlns:a16="http://schemas.microsoft.com/office/drawing/2014/main" id="{3AD5E5FF-C670-402B-8DB8-A556D6A455BB}"/>
              </a:ext>
            </a:extLst>
          </p:cNvPr>
          <p:cNvCxnSpPr/>
          <p:nvPr userDrawn="1"/>
        </p:nvCxnSpPr>
        <p:spPr>
          <a:xfrm>
            <a:off x="6607120" y="387198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827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hyperlink" Target="http://www.google.sk/url?sa=i&amp;rct=j&amp;q=&amp;esrc=s&amp;frm=1&amp;source=images&amp;cd=&amp;cad=rja&amp;uact=8&amp;docid=Jq6x5QVfCryZqM&amp;tbnid=l0adCp5C7al4pM:&amp;ved=0CAUQjRw&amp;url=http://rno.sk/potravinarska-komora-slovenska-vita-vysledky-hodnotenia-rizika-aspartamu/&amp;ei=ZglyU9XFGIrf4QSR0YHQCw&amp;bvm=bv.66330100,d.ZGU&amp;psig=AFQjCNGvUaKMMqMh33rwpcWz6eyAc59OcA&amp;ust=1400068836490828" TargetMode="Externa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Relationship Id="rId35" Type="http://schemas.openxmlformats.org/officeDocument/2006/relationships/image" Target="../media/image2.gi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9.jpe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1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3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5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add headlin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6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©</a:t>
            </a:r>
            <a:r>
              <a:rPr lang="en-US" sz="800" noProof="0">
                <a:solidFill>
                  <a:schemeClr val="bg2"/>
                </a:solidFill>
                <a:latin typeface="+mj-lt"/>
              </a:rPr>
              <a:t> 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Go4insight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|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Podiel vystavenia slovenských výrobkov v maloobchode 2026 </a:t>
            </a:r>
            <a:endParaRPr lang="en-US" sz="800" noProof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VCT_Marker_ID_4" hidden="1"/>
          <p:cNvSpPr/>
          <p:nvPr>
            <p:custDataLst>
              <p:tags r:id="rId31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7" name="Picture 2" descr="http://rno.sk/wp-content/uploads/sites/11/2013/12/PKS-logoRGB-260x208.gif">
            <a:hlinkClick r:id="rId34"/>
          </p:cNvPr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3393" y="141628"/>
            <a:ext cx="710481" cy="568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Obrázok 87">
            <a:extLst>
              <a:ext uri="{FF2B5EF4-FFF2-40B4-BE49-F238E27FC236}">
                <a16:creationId xmlns:a16="http://schemas.microsoft.com/office/drawing/2014/main" id="{6D0D07AB-2972-4860-85D6-A88D1766AB61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7696007" y="299769"/>
            <a:ext cx="1194987" cy="28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54" r:id="rId5"/>
    <p:sldLayoutId id="2147483650" r:id="rId6"/>
    <p:sldLayoutId id="2147483652" r:id="rId7"/>
    <p:sldLayoutId id="2147483678" r:id="rId8"/>
    <p:sldLayoutId id="2147483685" r:id="rId9"/>
    <p:sldLayoutId id="2147483686" r:id="rId10"/>
    <p:sldLayoutId id="2147483680" r:id="rId11"/>
    <p:sldLayoutId id="2147483664" r:id="rId12"/>
    <p:sldLayoutId id="2147483668" r:id="rId13"/>
    <p:sldLayoutId id="2147483670" r:id="rId14"/>
    <p:sldLayoutId id="2147483736" r:id="rId15"/>
    <p:sldLayoutId id="2147483740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53" imgH="353" progId="TCLayout.ActiveDocument.1">
                  <p:embed/>
                </p:oleObj>
              </mc:Choice>
              <mc:Fallback>
                <p:oleObj name="think-cell Slide" r:id="rId22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add headlin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6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7" name="Obrázok 86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7054" y="303526"/>
            <a:ext cx="1063418" cy="252000"/>
          </a:xfrm>
          <a:prstGeom prst="rect">
            <a:avLst/>
          </a:prstGeom>
        </p:spPr>
      </p:pic>
      <p:sp>
        <p:nvSpPr>
          <p:cNvPr id="88" name="Rechteck 13">
            <a:extLst>
              <a:ext uri="{FF2B5EF4-FFF2-40B4-BE49-F238E27FC236}">
                <a16:creationId xmlns:a16="http://schemas.microsoft.com/office/drawing/2014/main" id="{BCD644EF-1570-4EC1-B2F7-327B5A3CBFCF}"/>
              </a:ext>
            </a:extLst>
          </p:cNvPr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©</a:t>
            </a:r>
            <a:r>
              <a:rPr lang="en-US" sz="800" noProof="0">
                <a:solidFill>
                  <a:schemeClr val="bg2"/>
                </a:solidFill>
                <a:latin typeface="+mj-lt"/>
              </a:rPr>
              <a:t> 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Go4insight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|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Podiel vystavenia slovenských výrobkov v maloobchode 2026 | Záverečná správa | Apríl 2026</a:t>
            </a:r>
            <a:endParaRPr lang="en-US" sz="800" noProof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5073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9" r:id="rId15"/>
    <p:sldLayoutId id="2147483720" r:id="rId16"/>
    <p:sldLayoutId id="2147483723" r:id="rId1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11408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53" imgH="353" progId="TCLayout.ActiveDocument.1">
                  <p:embed/>
                </p:oleObj>
              </mc:Choice>
              <mc:Fallback>
                <p:oleObj name="think-cell Folie" r:id="rId1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194256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‹#›</a:t>
            </a:fld>
            <a:endParaRPr lang="en-US" sz="80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1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la-Latn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VctSubjectTitle_ID_6" hidden="1"/>
          <p:cNvSpPr txBox="1"/>
          <p:nvPr>
            <p:custDataLst>
              <p:tags r:id="rId15"/>
            </p:custDataLst>
          </p:nvPr>
        </p:nvSpPr>
        <p:spPr bwMode="gray">
          <a:xfrm>
            <a:off x="323411" y="1420813"/>
            <a:ext cx="4806667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600" b="1" i="0">
                <a:solidFill>
                  <a:schemeClr val="dk1"/>
                </a:solidFill>
                <a:latin typeface="Arial"/>
                <a:cs typeface="Arial" pitchFamily="34" charset="0"/>
              </a:rPr>
              <a:t>Chart Title</a:t>
            </a:r>
            <a:endParaRPr lang="en-GB" sz="1600" b="1" i="0" err="1">
              <a:solidFill>
                <a:schemeClr val="dk1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VctFootnote_ID_7" hidden="1"/>
          <p:cNvSpPr txBox="1"/>
          <p:nvPr>
            <p:custDataLst>
              <p:tags r:id="rId16"/>
            </p:custDataLst>
          </p:nvPr>
        </p:nvSpPr>
        <p:spPr bwMode="gray">
          <a:xfrm>
            <a:off x="323411" y="6437313"/>
            <a:ext cx="6408889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000" b="0" i="0">
                <a:solidFill>
                  <a:schemeClr val="dk1"/>
                </a:solidFill>
                <a:latin typeface="Arial"/>
                <a:cs typeface="Arial" pitchFamily="34" charset="0"/>
              </a:rPr>
              <a:t>*	Footnote</a:t>
            </a:r>
            <a:endParaRPr lang="en-GB" sz="1000" b="0" i="0" err="1">
              <a:solidFill>
                <a:schemeClr val="dk1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007011B2-83FF-4C7A-AFA1-97076FF48C21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773726" y="365007"/>
            <a:ext cx="1086975" cy="257582"/>
          </a:xfrm>
          <a:prstGeom prst="rect">
            <a:avLst/>
          </a:prstGeom>
        </p:spPr>
      </p:pic>
      <p:sp>
        <p:nvSpPr>
          <p:cNvPr id="2" name="Obdĺžnik 1">
            <a:extLst>
              <a:ext uri="{FF2B5EF4-FFF2-40B4-BE49-F238E27FC236}">
                <a16:creationId xmlns:a16="http://schemas.microsoft.com/office/drawing/2014/main" id="{C9118925-8E7B-473C-8B4F-F865D2B92FA5}"/>
              </a:ext>
            </a:extLst>
          </p:cNvPr>
          <p:cNvSpPr/>
          <p:nvPr userDrawn="1"/>
        </p:nvSpPr>
        <p:spPr bwMode="gray">
          <a:xfrm>
            <a:off x="6336196" y="231490"/>
            <a:ext cx="1188208" cy="4680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16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GO</a:t>
            </a:r>
          </a:p>
        </p:txBody>
      </p:sp>
      <p:sp>
        <p:nvSpPr>
          <p:cNvPr id="87" name="Rechteck 13">
            <a:extLst>
              <a:ext uri="{FF2B5EF4-FFF2-40B4-BE49-F238E27FC236}">
                <a16:creationId xmlns:a16="http://schemas.microsoft.com/office/drawing/2014/main" id="{5AA00CFD-0C69-4C9E-B2EC-C769AC7DE5A6}"/>
              </a:ext>
            </a:extLst>
          </p:cNvPr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©</a:t>
            </a:r>
            <a:r>
              <a:rPr lang="en-US" sz="800" noProof="0">
                <a:solidFill>
                  <a:schemeClr val="bg2"/>
                </a:solidFill>
                <a:latin typeface="+mj-lt"/>
              </a:rPr>
              <a:t> 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Go4insight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|</a:t>
            </a:r>
            <a:r>
              <a:rPr lang="en-US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 </a:t>
            </a:r>
            <a:r>
              <a:rPr lang="sk-SK" sz="800" noProof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</a:rPr>
              <a:t>Podiel vystavenia slovenských výrobkov v maloobchode 2026 | Záverečná správa | Apríl 2026</a:t>
            </a:r>
            <a:endParaRPr lang="en-US" sz="800" noProof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3674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1800" b="0" i="0" kern="1200" smtClean="0">
          <a:gradFill>
            <a:gsLst>
              <a:gs pos="57000">
                <a:srgbClr val="F36F21"/>
              </a:gs>
              <a:gs pos="0">
                <a:srgbClr val="F0AB00"/>
              </a:gs>
            </a:gsLst>
            <a:lin ang="10800000" scaled="1"/>
          </a:gradFill>
          <a:effectLst/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lang="sk-SK" sz="1600" b="0" i="0" kern="1200" smtClean="0">
          <a:solidFill>
            <a:schemeClr val="tx1">
              <a:lumMod val="75000"/>
              <a:lumOff val="25000"/>
            </a:schemeClr>
          </a:solidFill>
          <a:effectLst/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8.xml"/><Relationship Id="rId7" Type="http://schemas.openxmlformats.org/officeDocument/2006/relationships/image" Target="../media/image13.sv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7.jpe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6.svg"/><Relationship Id="rId4" Type="http://schemas.openxmlformats.org/officeDocument/2006/relationships/tags" Target="../tags/tag19.xml"/><Relationship Id="rId9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chart" Target="../charts/chart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13" Type="http://schemas.openxmlformats.org/officeDocument/2006/relationships/chart" Target="../charts/chart13.xml"/><Relationship Id="rId18" Type="http://schemas.openxmlformats.org/officeDocument/2006/relationships/image" Target="../media/image19.jpeg"/><Relationship Id="rId26" Type="http://schemas.openxmlformats.org/officeDocument/2006/relationships/image" Target="../media/image27.png"/><Relationship Id="rId3" Type="http://schemas.openxmlformats.org/officeDocument/2006/relationships/chart" Target="../charts/chart4.xml"/><Relationship Id="rId21" Type="http://schemas.openxmlformats.org/officeDocument/2006/relationships/image" Target="../media/image22.jpeg"/><Relationship Id="rId7" Type="http://schemas.openxmlformats.org/officeDocument/2006/relationships/chart" Target="../charts/chart8.xml"/><Relationship Id="rId12" Type="http://schemas.openxmlformats.org/officeDocument/2006/relationships/chart" Target="../charts/chart12.xml"/><Relationship Id="rId17" Type="http://schemas.openxmlformats.org/officeDocument/2006/relationships/chart" Target="../charts/chart17.xml"/><Relationship Id="rId25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6" Type="http://schemas.openxmlformats.org/officeDocument/2006/relationships/chart" Target="../charts/chart16.xml"/><Relationship Id="rId20" Type="http://schemas.openxmlformats.org/officeDocument/2006/relationships/image" Target="../media/image21.png"/><Relationship Id="rId29" Type="http://schemas.openxmlformats.org/officeDocument/2006/relationships/chart" Target="../charts/chart20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7.xml"/><Relationship Id="rId11" Type="http://schemas.openxmlformats.org/officeDocument/2006/relationships/chart" Target="../charts/chart11.xml"/><Relationship Id="rId24" Type="http://schemas.openxmlformats.org/officeDocument/2006/relationships/image" Target="../media/image25.png"/><Relationship Id="rId32" Type="http://schemas.openxmlformats.org/officeDocument/2006/relationships/image" Target="../media/image29.png"/><Relationship Id="rId5" Type="http://schemas.openxmlformats.org/officeDocument/2006/relationships/chart" Target="../charts/chart6.xml"/><Relationship Id="rId15" Type="http://schemas.openxmlformats.org/officeDocument/2006/relationships/chart" Target="../charts/chart15.xml"/><Relationship Id="rId23" Type="http://schemas.openxmlformats.org/officeDocument/2006/relationships/image" Target="../media/image24.png"/><Relationship Id="rId28" Type="http://schemas.openxmlformats.org/officeDocument/2006/relationships/chart" Target="../charts/chart19.xml"/><Relationship Id="rId10" Type="http://schemas.openxmlformats.org/officeDocument/2006/relationships/chart" Target="../charts/chart10.xml"/><Relationship Id="rId19" Type="http://schemas.openxmlformats.org/officeDocument/2006/relationships/image" Target="../media/image20.png"/><Relationship Id="rId31" Type="http://schemas.openxmlformats.org/officeDocument/2006/relationships/image" Target="../media/image28.png"/><Relationship Id="rId4" Type="http://schemas.openxmlformats.org/officeDocument/2006/relationships/chart" Target="../charts/chart5.xml"/><Relationship Id="rId9" Type="http://schemas.openxmlformats.org/officeDocument/2006/relationships/image" Target="../media/image18.png"/><Relationship Id="rId14" Type="http://schemas.openxmlformats.org/officeDocument/2006/relationships/chart" Target="../charts/chart14.xml"/><Relationship Id="rId22" Type="http://schemas.openxmlformats.org/officeDocument/2006/relationships/image" Target="../media/image23.png"/><Relationship Id="rId27" Type="http://schemas.openxmlformats.org/officeDocument/2006/relationships/chart" Target="../charts/chart18.xml"/><Relationship Id="rId30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26.jpeg"/><Relationship Id="rId18" Type="http://schemas.openxmlformats.org/officeDocument/2006/relationships/chart" Target="../charts/chart27.xml"/><Relationship Id="rId3" Type="http://schemas.openxmlformats.org/officeDocument/2006/relationships/tags" Target="../tags/tag25.xml"/><Relationship Id="rId21" Type="http://schemas.openxmlformats.org/officeDocument/2006/relationships/image" Target="../media/image21.png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30.jpeg"/><Relationship Id="rId17" Type="http://schemas.openxmlformats.org/officeDocument/2006/relationships/image" Target="../media/image23.png"/><Relationship Id="rId2" Type="http://schemas.openxmlformats.org/officeDocument/2006/relationships/tags" Target="../tags/tag24.xml"/><Relationship Id="rId16" Type="http://schemas.openxmlformats.org/officeDocument/2006/relationships/chart" Target="../charts/chart26.xml"/><Relationship Id="rId20" Type="http://schemas.openxmlformats.org/officeDocument/2006/relationships/image" Target="../media/image20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chart" Target="../charts/chart24.xml"/><Relationship Id="rId5" Type="http://schemas.openxmlformats.org/officeDocument/2006/relationships/tags" Target="../tags/tag27.xml"/><Relationship Id="rId15" Type="http://schemas.openxmlformats.org/officeDocument/2006/relationships/chart" Target="../charts/chart25.xml"/><Relationship Id="rId10" Type="http://schemas.openxmlformats.org/officeDocument/2006/relationships/chart" Target="../charts/chart23.xml"/><Relationship Id="rId19" Type="http://schemas.openxmlformats.org/officeDocument/2006/relationships/image" Target="../media/image28.png"/><Relationship Id="rId4" Type="http://schemas.openxmlformats.org/officeDocument/2006/relationships/tags" Target="../tags/tag26.xml"/><Relationship Id="rId9" Type="http://schemas.openxmlformats.org/officeDocument/2006/relationships/image" Target="../media/image18.png"/><Relationship Id="rId14" Type="http://schemas.openxmlformats.org/officeDocument/2006/relationships/image" Target="../media/image27.png"/><Relationship Id="rId22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1.xml"/><Relationship Id="rId7" Type="http://schemas.openxmlformats.org/officeDocument/2006/relationships/chart" Target="../charts/chart29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4.png"/><Relationship Id="rId5" Type="http://schemas.openxmlformats.org/officeDocument/2006/relationships/chart" Target="../charts/chart28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5.xml"/><Relationship Id="rId9" Type="http://schemas.openxmlformats.org/officeDocument/2006/relationships/chart" Target="../charts/char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4.xml"/><Relationship Id="rId4" Type="http://schemas.openxmlformats.org/officeDocument/2006/relationships/chart" Target="../charts/char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chart" Target="../charts/char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>
            <a:extLst>
              <a:ext uri="{FF2B5EF4-FFF2-40B4-BE49-F238E27FC236}">
                <a16:creationId xmlns:a16="http://schemas.microsoft.com/office/drawing/2014/main" id="{DF0A3C9C-CBB2-8329-8710-0FF4601D89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860213"/>
            <a:ext cx="9144000" cy="3947464"/>
          </a:xfrm>
          <a:prstGeom prst="rect">
            <a:avLst/>
          </a:prstGeom>
        </p:spPr>
      </p:pic>
      <p:grpSp>
        <p:nvGrpSpPr>
          <p:cNvPr id="10" name="Skupina 9">
            <a:extLst>
              <a:ext uri="{FF2B5EF4-FFF2-40B4-BE49-F238E27FC236}">
                <a16:creationId xmlns:a16="http://schemas.microsoft.com/office/drawing/2014/main" id="{815E4F9E-682A-4D30-AEBE-D0EEBCA4F4FD}"/>
              </a:ext>
            </a:extLst>
          </p:cNvPr>
          <p:cNvGrpSpPr/>
          <p:nvPr/>
        </p:nvGrpSpPr>
        <p:grpSpPr>
          <a:xfrm>
            <a:off x="-4160" y="843557"/>
            <a:ext cx="3256940" cy="3968413"/>
            <a:chOff x="-4155" y="992483"/>
            <a:chExt cx="3256940" cy="4181477"/>
          </a:xfrm>
        </p:grpSpPr>
        <p:sp>
          <p:nvSpPr>
            <p:cNvPr id="11" name="Voľný tvar: obrazec 10">
              <a:extLst>
                <a:ext uri="{FF2B5EF4-FFF2-40B4-BE49-F238E27FC236}">
                  <a16:creationId xmlns:a16="http://schemas.microsoft.com/office/drawing/2014/main" id="{3CB0B7BA-BD03-46AE-BE9E-2B94AA12AB41}"/>
                </a:ext>
              </a:extLst>
            </p:cNvPr>
            <p:cNvSpPr/>
            <p:nvPr/>
          </p:nvSpPr>
          <p:spPr bwMode="gray">
            <a:xfrm>
              <a:off x="2224085" y="992485"/>
              <a:ext cx="1028700" cy="4181475"/>
            </a:xfrm>
            <a:custGeom>
              <a:avLst/>
              <a:gdLst>
                <a:gd name="connsiteX0" fmla="*/ 1866900 w 3914775"/>
                <a:gd name="connsiteY0" fmla="*/ 0 h 4181475"/>
                <a:gd name="connsiteX1" fmla="*/ 3248025 w 3914775"/>
                <a:gd name="connsiteY1" fmla="*/ 0 h 4181475"/>
                <a:gd name="connsiteX2" fmla="*/ 3248025 w 3914775"/>
                <a:gd name="connsiteY2" fmla="*/ 2743200 h 4181475"/>
                <a:gd name="connsiteX3" fmla="*/ 3914775 w 3914775"/>
                <a:gd name="connsiteY3" fmla="*/ 2743200 h 4181475"/>
                <a:gd name="connsiteX4" fmla="*/ 3914775 w 3914775"/>
                <a:gd name="connsiteY4" fmla="*/ 3676650 h 4181475"/>
                <a:gd name="connsiteX5" fmla="*/ 3914775 w 3914775"/>
                <a:gd name="connsiteY5" fmla="*/ 3676650 h 4181475"/>
                <a:gd name="connsiteX6" fmla="*/ 3238500 w 3914775"/>
                <a:gd name="connsiteY6" fmla="*/ 3667125 h 4181475"/>
                <a:gd name="connsiteX7" fmla="*/ 3238500 w 3914775"/>
                <a:gd name="connsiteY7" fmla="*/ 4181475 h 4181475"/>
                <a:gd name="connsiteX8" fmla="*/ 2219325 w 3914775"/>
                <a:gd name="connsiteY8" fmla="*/ 4181475 h 4181475"/>
                <a:gd name="connsiteX9" fmla="*/ 2228850 w 3914775"/>
                <a:gd name="connsiteY9" fmla="*/ 3667125 h 4181475"/>
                <a:gd name="connsiteX10" fmla="*/ 0 w 3914775"/>
                <a:gd name="connsiteY10" fmla="*/ 3676650 h 4181475"/>
                <a:gd name="connsiteX11" fmla="*/ 0 w 3914775"/>
                <a:gd name="connsiteY11" fmla="*/ 2752725 h 4181475"/>
                <a:gd name="connsiteX12" fmla="*/ 2228850 w 3914775"/>
                <a:gd name="connsiteY12" fmla="*/ 2743200 h 4181475"/>
                <a:gd name="connsiteX13" fmla="*/ 2228850 w 3914775"/>
                <a:gd name="connsiteY13" fmla="*/ 876300 h 4181475"/>
                <a:gd name="connsiteX14" fmla="*/ 1866900 w 3914775"/>
                <a:gd name="connsiteY14" fmla="*/ 0 h 4181475"/>
                <a:gd name="connsiteX0" fmla="*/ 1866900 w 3914775"/>
                <a:gd name="connsiteY0" fmla="*/ 0 h 4181475"/>
                <a:gd name="connsiteX1" fmla="*/ 2234388 w 3914775"/>
                <a:gd name="connsiteY1" fmla="*/ 3031 h 4181475"/>
                <a:gd name="connsiteX2" fmla="*/ 3248025 w 3914775"/>
                <a:gd name="connsiteY2" fmla="*/ 0 h 4181475"/>
                <a:gd name="connsiteX3" fmla="*/ 3248025 w 3914775"/>
                <a:gd name="connsiteY3" fmla="*/ 2743200 h 4181475"/>
                <a:gd name="connsiteX4" fmla="*/ 3914775 w 3914775"/>
                <a:gd name="connsiteY4" fmla="*/ 2743200 h 4181475"/>
                <a:gd name="connsiteX5" fmla="*/ 3914775 w 3914775"/>
                <a:gd name="connsiteY5" fmla="*/ 3676650 h 4181475"/>
                <a:gd name="connsiteX6" fmla="*/ 3914775 w 3914775"/>
                <a:gd name="connsiteY6" fmla="*/ 3676650 h 4181475"/>
                <a:gd name="connsiteX7" fmla="*/ 3238500 w 3914775"/>
                <a:gd name="connsiteY7" fmla="*/ 3667125 h 4181475"/>
                <a:gd name="connsiteX8" fmla="*/ 3238500 w 3914775"/>
                <a:gd name="connsiteY8" fmla="*/ 4181475 h 4181475"/>
                <a:gd name="connsiteX9" fmla="*/ 2219325 w 3914775"/>
                <a:gd name="connsiteY9" fmla="*/ 4181475 h 4181475"/>
                <a:gd name="connsiteX10" fmla="*/ 2228850 w 3914775"/>
                <a:gd name="connsiteY10" fmla="*/ 3667125 h 4181475"/>
                <a:gd name="connsiteX11" fmla="*/ 0 w 3914775"/>
                <a:gd name="connsiteY11" fmla="*/ 3676650 h 4181475"/>
                <a:gd name="connsiteX12" fmla="*/ 0 w 3914775"/>
                <a:gd name="connsiteY12" fmla="*/ 2752725 h 4181475"/>
                <a:gd name="connsiteX13" fmla="*/ 2228850 w 3914775"/>
                <a:gd name="connsiteY13" fmla="*/ 2743200 h 4181475"/>
                <a:gd name="connsiteX14" fmla="*/ 2228850 w 3914775"/>
                <a:gd name="connsiteY14" fmla="*/ 876300 h 4181475"/>
                <a:gd name="connsiteX15" fmla="*/ 1866900 w 3914775"/>
                <a:gd name="connsiteY15" fmla="*/ 0 h 4181475"/>
                <a:gd name="connsiteX0" fmla="*/ 2228850 w 3914775"/>
                <a:gd name="connsiteY0" fmla="*/ 876300 h 4181475"/>
                <a:gd name="connsiteX1" fmla="*/ 2234388 w 3914775"/>
                <a:gd name="connsiteY1" fmla="*/ 3031 h 4181475"/>
                <a:gd name="connsiteX2" fmla="*/ 3248025 w 3914775"/>
                <a:gd name="connsiteY2" fmla="*/ 0 h 4181475"/>
                <a:gd name="connsiteX3" fmla="*/ 3248025 w 3914775"/>
                <a:gd name="connsiteY3" fmla="*/ 2743200 h 4181475"/>
                <a:gd name="connsiteX4" fmla="*/ 3914775 w 3914775"/>
                <a:gd name="connsiteY4" fmla="*/ 2743200 h 4181475"/>
                <a:gd name="connsiteX5" fmla="*/ 3914775 w 3914775"/>
                <a:gd name="connsiteY5" fmla="*/ 3676650 h 4181475"/>
                <a:gd name="connsiteX6" fmla="*/ 3914775 w 3914775"/>
                <a:gd name="connsiteY6" fmla="*/ 3676650 h 4181475"/>
                <a:gd name="connsiteX7" fmla="*/ 3238500 w 3914775"/>
                <a:gd name="connsiteY7" fmla="*/ 3667125 h 4181475"/>
                <a:gd name="connsiteX8" fmla="*/ 3238500 w 3914775"/>
                <a:gd name="connsiteY8" fmla="*/ 4181475 h 4181475"/>
                <a:gd name="connsiteX9" fmla="*/ 2219325 w 3914775"/>
                <a:gd name="connsiteY9" fmla="*/ 4181475 h 4181475"/>
                <a:gd name="connsiteX10" fmla="*/ 2228850 w 3914775"/>
                <a:gd name="connsiteY10" fmla="*/ 3667125 h 4181475"/>
                <a:gd name="connsiteX11" fmla="*/ 0 w 3914775"/>
                <a:gd name="connsiteY11" fmla="*/ 3676650 h 4181475"/>
                <a:gd name="connsiteX12" fmla="*/ 0 w 3914775"/>
                <a:gd name="connsiteY12" fmla="*/ 2752725 h 4181475"/>
                <a:gd name="connsiteX13" fmla="*/ 2228850 w 3914775"/>
                <a:gd name="connsiteY13" fmla="*/ 2743200 h 4181475"/>
                <a:gd name="connsiteX14" fmla="*/ 2228850 w 3914775"/>
                <a:gd name="connsiteY14" fmla="*/ 876300 h 4181475"/>
                <a:gd name="connsiteX0" fmla="*/ 2228850 w 3914775"/>
                <a:gd name="connsiteY0" fmla="*/ 876300 h 4181475"/>
                <a:gd name="connsiteX1" fmla="*/ 2234388 w 3914775"/>
                <a:gd name="connsiteY1" fmla="*/ 3031 h 4181475"/>
                <a:gd name="connsiteX2" fmla="*/ 3248025 w 3914775"/>
                <a:gd name="connsiteY2" fmla="*/ 0 h 4181475"/>
                <a:gd name="connsiteX3" fmla="*/ 3248025 w 3914775"/>
                <a:gd name="connsiteY3" fmla="*/ 2743200 h 4181475"/>
                <a:gd name="connsiteX4" fmla="*/ 3914775 w 3914775"/>
                <a:gd name="connsiteY4" fmla="*/ 2743200 h 4181475"/>
                <a:gd name="connsiteX5" fmla="*/ 3914775 w 3914775"/>
                <a:gd name="connsiteY5" fmla="*/ 3676650 h 4181475"/>
                <a:gd name="connsiteX6" fmla="*/ 3914775 w 3914775"/>
                <a:gd name="connsiteY6" fmla="*/ 3676650 h 4181475"/>
                <a:gd name="connsiteX7" fmla="*/ 3238500 w 3914775"/>
                <a:gd name="connsiteY7" fmla="*/ 3667125 h 4181475"/>
                <a:gd name="connsiteX8" fmla="*/ 3238500 w 3914775"/>
                <a:gd name="connsiteY8" fmla="*/ 4181475 h 4181475"/>
                <a:gd name="connsiteX9" fmla="*/ 2219325 w 3914775"/>
                <a:gd name="connsiteY9" fmla="*/ 4181475 h 4181475"/>
                <a:gd name="connsiteX10" fmla="*/ 2228850 w 3914775"/>
                <a:gd name="connsiteY10" fmla="*/ 3667125 h 4181475"/>
                <a:gd name="connsiteX11" fmla="*/ 0 w 3914775"/>
                <a:gd name="connsiteY11" fmla="*/ 3676650 h 4181475"/>
                <a:gd name="connsiteX12" fmla="*/ 2228850 w 3914775"/>
                <a:gd name="connsiteY12" fmla="*/ 2743200 h 4181475"/>
                <a:gd name="connsiteX13" fmla="*/ 2228850 w 3914775"/>
                <a:gd name="connsiteY13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2743200 h 4181475"/>
                <a:gd name="connsiteX5" fmla="*/ 1695450 w 1695450"/>
                <a:gd name="connsiteY5" fmla="*/ 3676650 h 4181475"/>
                <a:gd name="connsiteX6" fmla="*/ 1695450 w 1695450"/>
                <a:gd name="connsiteY6" fmla="*/ 3676650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3676650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3676650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54131 w 1695450"/>
                <a:gd name="connsiteY6" fmla="*/ 344083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695450 w 1695450"/>
                <a:gd name="connsiteY6" fmla="*/ 4181475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695450 w 1695450"/>
                <a:gd name="connsiteY5" fmla="*/ 4181475 h 4181475"/>
                <a:gd name="connsiteX6" fmla="*/ 1222381 w 1695450"/>
                <a:gd name="connsiteY6" fmla="*/ 348528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695450"/>
                <a:gd name="connsiteY0" fmla="*/ 876300 h 4181475"/>
                <a:gd name="connsiteX1" fmla="*/ 15063 w 1695450"/>
                <a:gd name="connsiteY1" fmla="*/ 3031 h 4181475"/>
                <a:gd name="connsiteX2" fmla="*/ 1028700 w 1695450"/>
                <a:gd name="connsiteY2" fmla="*/ 0 h 4181475"/>
                <a:gd name="connsiteX3" fmla="*/ 1028700 w 1695450"/>
                <a:gd name="connsiteY3" fmla="*/ 2743200 h 4181475"/>
                <a:gd name="connsiteX4" fmla="*/ 1695450 w 1695450"/>
                <a:gd name="connsiteY4" fmla="*/ 4181475 h 4181475"/>
                <a:gd name="connsiteX5" fmla="*/ 1295400 w 1695450"/>
                <a:gd name="connsiteY5" fmla="*/ 3489325 h 4181475"/>
                <a:gd name="connsiteX6" fmla="*/ 1222381 w 1695450"/>
                <a:gd name="connsiteY6" fmla="*/ 3485289 h 4181475"/>
                <a:gd name="connsiteX7" fmla="*/ 1019175 w 1695450"/>
                <a:gd name="connsiteY7" fmla="*/ 3667125 h 4181475"/>
                <a:gd name="connsiteX8" fmla="*/ 1019175 w 1695450"/>
                <a:gd name="connsiteY8" fmla="*/ 4181475 h 4181475"/>
                <a:gd name="connsiteX9" fmla="*/ 0 w 1695450"/>
                <a:gd name="connsiteY9" fmla="*/ 4181475 h 4181475"/>
                <a:gd name="connsiteX10" fmla="*/ 9525 w 1695450"/>
                <a:gd name="connsiteY10" fmla="*/ 3667125 h 4181475"/>
                <a:gd name="connsiteX11" fmla="*/ 9525 w 1695450"/>
                <a:gd name="connsiteY11" fmla="*/ 2743200 h 4181475"/>
                <a:gd name="connsiteX12" fmla="*/ 9525 w 1695450"/>
                <a:gd name="connsiteY12" fmla="*/ 876300 h 4181475"/>
                <a:gd name="connsiteX0" fmla="*/ 9525 w 1295400"/>
                <a:gd name="connsiteY0" fmla="*/ 876300 h 4181475"/>
                <a:gd name="connsiteX1" fmla="*/ 15063 w 1295400"/>
                <a:gd name="connsiteY1" fmla="*/ 3031 h 4181475"/>
                <a:gd name="connsiteX2" fmla="*/ 1028700 w 1295400"/>
                <a:gd name="connsiteY2" fmla="*/ 0 h 4181475"/>
                <a:gd name="connsiteX3" fmla="*/ 1028700 w 1295400"/>
                <a:gd name="connsiteY3" fmla="*/ 2743200 h 4181475"/>
                <a:gd name="connsiteX4" fmla="*/ 1295400 w 1295400"/>
                <a:gd name="connsiteY4" fmla="*/ 3489325 h 4181475"/>
                <a:gd name="connsiteX5" fmla="*/ 1222381 w 1295400"/>
                <a:gd name="connsiteY5" fmla="*/ 3485289 h 4181475"/>
                <a:gd name="connsiteX6" fmla="*/ 1019175 w 1295400"/>
                <a:gd name="connsiteY6" fmla="*/ 3667125 h 4181475"/>
                <a:gd name="connsiteX7" fmla="*/ 1019175 w 1295400"/>
                <a:gd name="connsiteY7" fmla="*/ 4181475 h 4181475"/>
                <a:gd name="connsiteX8" fmla="*/ 0 w 1295400"/>
                <a:gd name="connsiteY8" fmla="*/ 4181475 h 4181475"/>
                <a:gd name="connsiteX9" fmla="*/ 9525 w 1295400"/>
                <a:gd name="connsiteY9" fmla="*/ 3667125 h 4181475"/>
                <a:gd name="connsiteX10" fmla="*/ 9525 w 1295400"/>
                <a:gd name="connsiteY10" fmla="*/ 2743200 h 4181475"/>
                <a:gd name="connsiteX11" fmla="*/ 9525 w 1295400"/>
                <a:gd name="connsiteY11" fmla="*/ 876300 h 4181475"/>
                <a:gd name="connsiteX0" fmla="*/ 9525 w 1222381"/>
                <a:gd name="connsiteY0" fmla="*/ 876300 h 4181475"/>
                <a:gd name="connsiteX1" fmla="*/ 15063 w 1222381"/>
                <a:gd name="connsiteY1" fmla="*/ 3031 h 4181475"/>
                <a:gd name="connsiteX2" fmla="*/ 1028700 w 1222381"/>
                <a:gd name="connsiteY2" fmla="*/ 0 h 4181475"/>
                <a:gd name="connsiteX3" fmla="*/ 1028700 w 1222381"/>
                <a:gd name="connsiteY3" fmla="*/ 2743200 h 4181475"/>
                <a:gd name="connsiteX4" fmla="*/ 1222381 w 1222381"/>
                <a:gd name="connsiteY4" fmla="*/ 3485289 h 4181475"/>
                <a:gd name="connsiteX5" fmla="*/ 1019175 w 1222381"/>
                <a:gd name="connsiteY5" fmla="*/ 3667125 h 4181475"/>
                <a:gd name="connsiteX6" fmla="*/ 1019175 w 1222381"/>
                <a:gd name="connsiteY6" fmla="*/ 4181475 h 4181475"/>
                <a:gd name="connsiteX7" fmla="*/ 0 w 1222381"/>
                <a:gd name="connsiteY7" fmla="*/ 4181475 h 4181475"/>
                <a:gd name="connsiteX8" fmla="*/ 9525 w 1222381"/>
                <a:gd name="connsiteY8" fmla="*/ 3667125 h 4181475"/>
                <a:gd name="connsiteX9" fmla="*/ 9525 w 1222381"/>
                <a:gd name="connsiteY9" fmla="*/ 2743200 h 4181475"/>
                <a:gd name="connsiteX10" fmla="*/ 9525 w 1222381"/>
                <a:gd name="connsiteY10" fmla="*/ 876300 h 4181475"/>
                <a:gd name="connsiteX0" fmla="*/ 9525 w 1028700"/>
                <a:gd name="connsiteY0" fmla="*/ 876300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28700 w 1028700"/>
                <a:gd name="connsiteY3" fmla="*/ 2743200 h 4181475"/>
                <a:gd name="connsiteX4" fmla="*/ 1019175 w 1028700"/>
                <a:gd name="connsiteY4" fmla="*/ 3667125 h 4181475"/>
                <a:gd name="connsiteX5" fmla="*/ 1019175 w 1028700"/>
                <a:gd name="connsiteY5" fmla="*/ 4181475 h 4181475"/>
                <a:gd name="connsiteX6" fmla="*/ 0 w 1028700"/>
                <a:gd name="connsiteY6" fmla="*/ 4181475 h 4181475"/>
                <a:gd name="connsiteX7" fmla="*/ 9525 w 1028700"/>
                <a:gd name="connsiteY7" fmla="*/ 3667125 h 4181475"/>
                <a:gd name="connsiteX8" fmla="*/ 9525 w 1028700"/>
                <a:gd name="connsiteY8" fmla="*/ 2743200 h 4181475"/>
                <a:gd name="connsiteX9" fmla="*/ 9525 w 1028700"/>
                <a:gd name="connsiteY9" fmla="*/ 876300 h 4181475"/>
                <a:gd name="connsiteX0" fmla="*/ 9525 w 1028700"/>
                <a:gd name="connsiteY0" fmla="*/ 876300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28700 w 1028700"/>
                <a:gd name="connsiteY3" fmla="*/ 2743200 h 4181475"/>
                <a:gd name="connsiteX4" fmla="*/ 1019175 w 1028700"/>
                <a:gd name="connsiteY4" fmla="*/ 4181475 h 4181475"/>
                <a:gd name="connsiteX5" fmla="*/ 0 w 1028700"/>
                <a:gd name="connsiteY5" fmla="*/ 4181475 h 4181475"/>
                <a:gd name="connsiteX6" fmla="*/ 9525 w 1028700"/>
                <a:gd name="connsiteY6" fmla="*/ 3667125 h 4181475"/>
                <a:gd name="connsiteX7" fmla="*/ 9525 w 1028700"/>
                <a:gd name="connsiteY7" fmla="*/ 2743200 h 4181475"/>
                <a:gd name="connsiteX8" fmla="*/ 9525 w 1028700"/>
                <a:gd name="connsiteY8" fmla="*/ 876300 h 4181475"/>
                <a:gd name="connsiteX0" fmla="*/ 9525 w 1028700"/>
                <a:gd name="connsiteY0" fmla="*/ 876300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28700 w 1028700"/>
                <a:gd name="connsiteY3" fmla="*/ 2743200 h 4181475"/>
                <a:gd name="connsiteX4" fmla="*/ 1019175 w 1028700"/>
                <a:gd name="connsiteY4" fmla="*/ 4181475 h 4181475"/>
                <a:gd name="connsiteX5" fmla="*/ 0 w 1028700"/>
                <a:gd name="connsiteY5" fmla="*/ 4181475 h 4181475"/>
                <a:gd name="connsiteX6" fmla="*/ 9525 w 1028700"/>
                <a:gd name="connsiteY6" fmla="*/ 2743200 h 4181475"/>
                <a:gd name="connsiteX7" fmla="*/ 9525 w 1028700"/>
                <a:gd name="connsiteY7" fmla="*/ 876300 h 4181475"/>
                <a:gd name="connsiteX0" fmla="*/ 9525 w 1028700"/>
                <a:gd name="connsiteY0" fmla="*/ 876300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28700 w 1028700"/>
                <a:gd name="connsiteY3" fmla="*/ 2743200 h 4181475"/>
                <a:gd name="connsiteX4" fmla="*/ 1019175 w 1028700"/>
                <a:gd name="connsiteY4" fmla="*/ 4181475 h 4181475"/>
                <a:gd name="connsiteX5" fmla="*/ 0 w 1028700"/>
                <a:gd name="connsiteY5" fmla="*/ 4181475 h 4181475"/>
                <a:gd name="connsiteX6" fmla="*/ 9525 w 1028700"/>
                <a:gd name="connsiteY6" fmla="*/ 876300 h 4181475"/>
                <a:gd name="connsiteX0" fmla="*/ 0 w 1028700"/>
                <a:gd name="connsiteY0" fmla="*/ 4181475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28700 w 1028700"/>
                <a:gd name="connsiteY3" fmla="*/ 2743200 h 4181475"/>
                <a:gd name="connsiteX4" fmla="*/ 1019175 w 1028700"/>
                <a:gd name="connsiteY4" fmla="*/ 4181475 h 4181475"/>
                <a:gd name="connsiteX5" fmla="*/ 0 w 1028700"/>
                <a:gd name="connsiteY5" fmla="*/ 4181475 h 4181475"/>
                <a:gd name="connsiteX0" fmla="*/ 0 w 1028700"/>
                <a:gd name="connsiteY0" fmla="*/ 4181475 h 4181475"/>
                <a:gd name="connsiteX1" fmla="*/ 15063 w 1028700"/>
                <a:gd name="connsiteY1" fmla="*/ 3031 h 4181475"/>
                <a:gd name="connsiteX2" fmla="*/ 1028700 w 1028700"/>
                <a:gd name="connsiteY2" fmla="*/ 0 h 4181475"/>
                <a:gd name="connsiteX3" fmla="*/ 1019175 w 1028700"/>
                <a:gd name="connsiteY3" fmla="*/ 4181475 h 4181475"/>
                <a:gd name="connsiteX4" fmla="*/ 0 w 1028700"/>
                <a:gd name="connsiteY4" fmla="*/ 4181475 h 418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00" h="4181475">
                  <a:moveTo>
                    <a:pt x="0" y="4181475"/>
                  </a:moveTo>
                  <a:lnTo>
                    <a:pt x="15063" y="3031"/>
                  </a:lnTo>
                  <a:lnTo>
                    <a:pt x="1028700" y="0"/>
                  </a:lnTo>
                  <a:lnTo>
                    <a:pt x="1019175" y="4181475"/>
                  </a:lnTo>
                  <a:lnTo>
                    <a:pt x="0" y="4181475"/>
                  </a:lnTo>
                  <a:close/>
                </a:path>
              </a:pathLst>
            </a:custGeom>
            <a:solidFill>
              <a:schemeClr val="bg1">
                <a:alpha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Voľný tvar: obrazec 11">
              <a:extLst>
                <a:ext uri="{FF2B5EF4-FFF2-40B4-BE49-F238E27FC236}">
                  <a16:creationId xmlns:a16="http://schemas.microsoft.com/office/drawing/2014/main" id="{0ABA7B42-8D39-4FA2-B382-FB451375371D}"/>
                </a:ext>
              </a:extLst>
            </p:cNvPr>
            <p:cNvSpPr/>
            <p:nvPr/>
          </p:nvSpPr>
          <p:spPr bwMode="gray">
            <a:xfrm>
              <a:off x="-4155" y="992483"/>
              <a:ext cx="2243074" cy="2921153"/>
            </a:xfrm>
            <a:custGeom>
              <a:avLst/>
              <a:gdLst>
                <a:gd name="connsiteX0" fmla="*/ 1866900 w 2333625"/>
                <a:gd name="connsiteY0" fmla="*/ 0 h 2838450"/>
                <a:gd name="connsiteX1" fmla="*/ 0 w 2333625"/>
                <a:gd name="connsiteY1" fmla="*/ 2762250 h 2838450"/>
                <a:gd name="connsiteX2" fmla="*/ 914400 w 2333625"/>
                <a:gd name="connsiteY2" fmla="*/ 2838450 h 2838450"/>
                <a:gd name="connsiteX3" fmla="*/ 2333625 w 2333625"/>
                <a:gd name="connsiteY3" fmla="*/ 704850 h 2838450"/>
                <a:gd name="connsiteX4" fmla="*/ 1866900 w 2333625"/>
                <a:gd name="connsiteY4" fmla="*/ 0 h 2838450"/>
                <a:gd name="connsiteX0" fmla="*/ 1866900 w 2333625"/>
                <a:gd name="connsiteY0" fmla="*/ 0 h 2838450"/>
                <a:gd name="connsiteX1" fmla="*/ 0 w 2333625"/>
                <a:gd name="connsiteY1" fmla="*/ 2762250 h 2838450"/>
                <a:gd name="connsiteX2" fmla="*/ 135901 w 2333625"/>
                <a:gd name="connsiteY2" fmla="*/ 2764362 h 2838450"/>
                <a:gd name="connsiteX3" fmla="*/ 914400 w 2333625"/>
                <a:gd name="connsiteY3" fmla="*/ 2838450 h 2838450"/>
                <a:gd name="connsiteX4" fmla="*/ 2333625 w 2333625"/>
                <a:gd name="connsiteY4" fmla="*/ 704850 h 2838450"/>
                <a:gd name="connsiteX5" fmla="*/ 1866900 w 2333625"/>
                <a:gd name="connsiteY5" fmla="*/ 0 h 2838450"/>
                <a:gd name="connsiteX0" fmla="*/ 1866900 w 2333625"/>
                <a:gd name="connsiteY0" fmla="*/ 0 h 2838450"/>
                <a:gd name="connsiteX1" fmla="*/ 127512 w 2333625"/>
                <a:gd name="connsiteY1" fmla="*/ 2572073 h 2838450"/>
                <a:gd name="connsiteX2" fmla="*/ 0 w 2333625"/>
                <a:gd name="connsiteY2" fmla="*/ 2762250 h 2838450"/>
                <a:gd name="connsiteX3" fmla="*/ 135901 w 2333625"/>
                <a:gd name="connsiteY3" fmla="*/ 2764362 h 2838450"/>
                <a:gd name="connsiteX4" fmla="*/ 914400 w 2333625"/>
                <a:gd name="connsiteY4" fmla="*/ 2838450 h 2838450"/>
                <a:gd name="connsiteX5" fmla="*/ 2333625 w 2333625"/>
                <a:gd name="connsiteY5" fmla="*/ 704850 h 2838450"/>
                <a:gd name="connsiteX6" fmla="*/ 1866900 w 2333625"/>
                <a:gd name="connsiteY6" fmla="*/ 0 h 2838450"/>
                <a:gd name="connsiteX0" fmla="*/ 1739388 w 2206113"/>
                <a:gd name="connsiteY0" fmla="*/ 0 h 2838450"/>
                <a:gd name="connsiteX1" fmla="*/ 0 w 2206113"/>
                <a:gd name="connsiteY1" fmla="*/ 2572073 h 2838450"/>
                <a:gd name="connsiteX2" fmla="*/ 8389 w 2206113"/>
                <a:gd name="connsiteY2" fmla="*/ 2764362 h 2838450"/>
                <a:gd name="connsiteX3" fmla="*/ 786888 w 2206113"/>
                <a:gd name="connsiteY3" fmla="*/ 2838450 h 2838450"/>
                <a:gd name="connsiteX4" fmla="*/ 2206113 w 2206113"/>
                <a:gd name="connsiteY4" fmla="*/ 704850 h 2838450"/>
                <a:gd name="connsiteX5" fmla="*/ 1739388 w 2206113"/>
                <a:gd name="connsiteY5" fmla="*/ 0 h 2838450"/>
                <a:gd name="connsiteX0" fmla="*/ 1739388 w 2206113"/>
                <a:gd name="connsiteY0" fmla="*/ 0 h 2838450"/>
                <a:gd name="connsiteX1" fmla="*/ 1592961 w 2206113"/>
                <a:gd name="connsiteY1" fmla="*/ 203566 h 2838450"/>
                <a:gd name="connsiteX2" fmla="*/ 0 w 2206113"/>
                <a:gd name="connsiteY2" fmla="*/ 2572073 h 2838450"/>
                <a:gd name="connsiteX3" fmla="*/ 8389 w 2206113"/>
                <a:gd name="connsiteY3" fmla="*/ 2764362 h 2838450"/>
                <a:gd name="connsiteX4" fmla="*/ 786888 w 2206113"/>
                <a:gd name="connsiteY4" fmla="*/ 2838450 h 2838450"/>
                <a:gd name="connsiteX5" fmla="*/ 2206113 w 2206113"/>
                <a:gd name="connsiteY5" fmla="*/ 704850 h 2838450"/>
                <a:gd name="connsiteX6" fmla="*/ 1739388 w 2206113"/>
                <a:gd name="connsiteY6" fmla="*/ 0 h 2838450"/>
                <a:gd name="connsiteX0" fmla="*/ 1739388 w 2206113"/>
                <a:gd name="connsiteY0" fmla="*/ 0 h 2838450"/>
                <a:gd name="connsiteX1" fmla="*/ 1592961 w 2206113"/>
                <a:gd name="connsiteY1" fmla="*/ 203566 h 2838450"/>
                <a:gd name="connsiteX2" fmla="*/ 0 w 2206113"/>
                <a:gd name="connsiteY2" fmla="*/ 2572073 h 2838450"/>
                <a:gd name="connsiteX3" fmla="*/ 8389 w 2206113"/>
                <a:gd name="connsiteY3" fmla="*/ 2764362 h 2838450"/>
                <a:gd name="connsiteX4" fmla="*/ 786888 w 2206113"/>
                <a:gd name="connsiteY4" fmla="*/ 2838450 h 2838450"/>
                <a:gd name="connsiteX5" fmla="*/ 2206113 w 2206113"/>
                <a:gd name="connsiteY5" fmla="*/ 704850 h 2838450"/>
                <a:gd name="connsiteX6" fmla="*/ 1872210 w 2206113"/>
                <a:gd name="connsiteY6" fmla="*/ 203566 h 2838450"/>
                <a:gd name="connsiteX7" fmla="*/ 1739388 w 2206113"/>
                <a:gd name="connsiteY7" fmla="*/ 0 h 2838450"/>
                <a:gd name="connsiteX0" fmla="*/ 1872210 w 2206113"/>
                <a:gd name="connsiteY0" fmla="*/ 0 h 2634884"/>
                <a:gd name="connsiteX1" fmla="*/ 1592961 w 2206113"/>
                <a:gd name="connsiteY1" fmla="*/ 0 h 2634884"/>
                <a:gd name="connsiteX2" fmla="*/ 0 w 2206113"/>
                <a:gd name="connsiteY2" fmla="*/ 2368507 h 2634884"/>
                <a:gd name="connsiteX3" fmla="*/ 8389 w 2206113"/>
                <a:gd name="connsiteY3" fmla="*/ 2560796 h 2634884"/>
                <a:gd name="connsiteX4" fmla="*/ 786888 w 2206113"/>
                <a:gd name="connsiteY4" fmla="*/ 2634884 h 2634884"/>
                <a:gd name="connsiteX5" fmla="*/ 2206113 w 2206113"/>
                <a:gd name="connsiteY5" fmla="*/ 501284 h 2634884"/>
                <a:gd name="connsiteX6" fmla="*/ 1872210 w 2206113"/>
                <a:gd name="connsiteY6" fmla="*/ 0 h 2634884"/>
                <a:gd name="connsiteX0" fmla="*/ 1872210 w 2206113"/>
                <a:gd name="connsiteY0" fmla="*/ 0 h 2634884"/>
                <a:gd name="connsiteX1" fmla="*/ 1592961 w 2206113"/>
                <a:gd name="connsiteY1" fmla="*/ 0 h 2634884"/>
                <a:gd name="connsiteX2" fmla="*/ 0 w 2206113"/>
                <a:gd name="connsiteY2" fmla="*/ 2368507 h 2634884"/>
                <a:gd name="connsiteX3" fmla="*/ 8389 w 2206113"/>
                <a:gd name="connsiteY3" fmla="*/ 2560796 h 2634884"/>
                <a:gd name="connsiteX4" fmla="*/ 786888 w 2206113"/>
                <a:gd name="connsiteY4" fmla="*/ 2634884 h 2634884"/>
                <a:gd name="connsiteX5" fmla="*/ 1963128 w 2206113"/>
                <a:gd name="connsiteY5" fmla="*/ 852612 h 2634884"/>
                <a:gd name="connsiteX6" fmla="*/ 2206113 w 2206113"/>
                <a:gd name="connsiteY6" fmla="*/ 501284 h 2634884"/>
                <a:gd name="connsiteX7" fmla="*/ 1872210 w 2206113"/>
                <a:gd name="connsiteY7" fmla="*/ 0 h 2634884"/>
                <a:gd name="connsiteX0" fmla="*/ 1872210 w 2206113"/>
                <a:gd name="connsiteY0" fmla="*/ 0 h 2634884"/>
                <a:gd name="connsiteX1" fmla="*/ 1592961 w 2206113"/>
                <a:gd name="connsiteY1" fmla="*/ 0 h 2634884"/>
                <a:gd name="connsiteX2" fmla="*/ 0 w 2206113"/>
                <a:gd name="connsiteY2" fmla="*/ 2368507 h 2634884"/>
                <a:gd name="connsiteX3" fmla="*/ 8389 w 2206113"/>
                <a:gd name="connsiteY3" fmla="*/ 2560796 h 2634884"/>
                <a:gd name="connsiteX4" fmla="*/ 786888 w 2206113"/>
                <a:gd name="connsiteY4" fmla="*/ 2634884 h 2634884"/>
                <a:gd name="connsiteX5" fmla="*/ 1963128 w 2206113"/>
                <a:gd name="connsiteY5" fmla="*/ 852612 h 2634884"/>
                <a:gd name="connsiteX6" fmla="*/ 2206113 w 2206113"/>
                <a:gd name="connsiteY6" fmla="*/ 501284 h 2634884"/>
                <a:gd name="connsiteX7" fmla="*/ 1969622 w 2206113"/>
                <a:gd name="connsiteY7" fmla="*/ 148868 h 2634884"/>
                <a:gd name="connsiteX8" fmla="*/ 1872210 w 2206113"/>
                <a:gd name="connsiteY8" fmla="*/ 0 h 2634884"/>
                <a:gd name="connsiteX0" fmla="*/ 1872210 w 1969622"/>
                <a:gd name="connsiteY0" fmla="*/ 0 h 2634884"/>
                <a:gd name="connsiteX1" fmla="*/ 1592961 w 1969622"/>
                <a:gd name="connsiteY1" fmla="*/ 0 h 2634884"/>
                <a:gd name="connsiteX2" fmla="*/ 0 w 1969622"/>
                <a:gd name="connsiteY2" fmla="*/ 2368507 h 2634884"/>
                <a:gd name="connsiteX3" fmla="*/ 8389 w 1969622"/>
                <a:gd name="connsiteY3" fmla="*/ 2560796 h 2634884"/>
                <a:gd name="connsiteX4" fmla="*/ 786888 w 1969622"/>
                <a:gd name="connsiteY4" fmla="*/ 2634884 h 2634884"/>
                <a:gd name="connsiteX5" fmla="*/ 1963128 w 1969622"/>
                <a:gd name="connsiteY5" fmla="*/ 852612 h 2634884"/>
                <a:gd name="connsiteX6" fmla="*/ 1969622 w 1969622"/>
                <a:gd name="connsiteY6" fmla="*/ 148868 h 2634884"/>
                <a:gd name="connsiteX7" fmla="*/ 1872210 w 1969622"/>
                <a:gd name="connsiteY7" fmla="*/ 0 h 2634884"/>
                <a:gd name="connsiteX0" fmla="*/ 1872210 w 1969622"/>
                <a:gd name="connsiteY0" fmla="*/ 13533 h 2648417"/>
                <a:gd name="connsiteX1" fmla="*/ 1592961 w 1969622"/>
                <a:gd name="connsiteY1" fmla="*/ 13533 h 2648417"/>
                <a:gd name="connsiteX2" fmla="*/ 0 w 1969622"/>
                <a:gd name="connsiteY2" fmla="*/ 2382040 h 2648417"/>
                <a:gd name="connsiteX3" fmla="*/ 8389 w 1969622"/>
                <a:gd name="connsiteY3" fmla="*/ 2574329 h 2648417"/>
                <a:gd name="connsiteX4" fmla="*/ 786888 w 1969622"/>
                <a:gd name="connsiteY4" fmla="*/ 2648417 h 2648417"/>
                <a:gd name="connsiteX5" fmla="*/ 1963128 w 1969622"/>
                <a:gd name="connsiteY5" fmla="*/ 866145 h 2648417"/>
                <a:gd name="connsiteX6" fmla="*/ 1969622 w 1969622"/>
                <a:gd name="connsiteY6" fmla="*/ 0 h 2648417"/>
                <a:gd name="connsiteX7" fmla="*/ 1872210 w 1969622"/>
                <a:gd name="connsiteY7" fmla="*/ 13533 h 2648417"/>
                <a:gd name="connsiteX0" fmla="*/ 1872210 w 1969622"/>
                <a:gd name="connsiteY0" fmla="*/ 0 h 2634884"/>
                <a:gd name="connsiteX1" fmla="*/ 1592961 w 1969622"/>
                <a:gd name="connsiteY1" fmla="*/ 0 h 2634884"/>
                <a:gd name="connsiteX2" fmla="*/ 0 w 1969622"/>
                <a:gd name="connsiteY2" fmla="*/ 2368507 h 2634884"/>
                <a:gd name="connsiteX3" fmla="*/ 8389 w 1969622"/>
                <a:gd name="connsiteY3" fmla="*/ 2560796 h 2634884"/>
                <a:gd name="connsiteX4" fmla="*/ 786888 w 1969622"/>
                <a:gd name="connsiteY4" fmla="*/ 2634884 h 2634884"/>
                <a:gd name="connsiteX5" fmla="*/ 1963128 w 1969622"/>
                <a:gd name="connsiteY5" fmla="*/ 852612 h 2634884"/>
                <a:gd name="connsiteX6" fmla="*/ 1969622 w 1969622"/>
                <a:gd name="connsiteY6" fmla="*/ 1763 h 2634884"/>
                <a:gd name="connsiteX7" fmla="*/ 1872210 w 1969622"/>
                <a:gd name="connsiteY7" fmla="*/ 0 h 2634884"/>
                <a:gd name="connsiteX0" fmla="*/ 1969622 w 1969622"/>
                <a:gd name="connsiteY0" fmla="*/ 1763 h 2634884"/>
                <a:gd name="connsiteX1" fmla="*/ 1592961 w 1969622"/>
                <a:gd name="connsiteY1" fmla="*/ 0 h 2634884"/>
                <a:gd name="connsiteX2" fmla="*/ 0 w 1969622"/>
                <a:gd name="connsiteY2" fmla="*/ 2368507 h 2634884"/>
                <a:gd name="connsiteX3" fmla="*/ 8389 w 1969622"/>
                <a:gd name="connsiteY3" fmla="*/ 2560796 h 2634884"/>
                <a:gd name="connsiteX4" fmla="*/ 786888 w 1969622"/>
                <a:gd name="connsiteY4" fmla="*/ 2634884 h 2634884"/>
                <a:gd name="connsiteX5" fmla="*/ 1963128 w 1969622"/>
                <a:gd name="connsiteY5" fmla="*/ 852612 h 2634884"/>
                <a:gd name="connsiteX6" fmla="*/ 1969622 w 1969622"/>
                <a:gd name="connsiteY6" fmla="*/ 1763 h 2634884"/>
                <a:gd name="connsiteX0" fmla="*/ 1973817 w 1973817"/>
                <a:gd name="connsiteY0" fmla="*/ 0 h 2635307"/>
                <a:gd name="connsiteX1" fmla="*/ 1592961 w 1973817"/>
                <a:gd name="connsiteY1" fmla="*/ 423 h 2635307"/>
                <a:gd name="connsiteX2" fmla="*/ 0 w 1973817"/>
                <a:gd name="connsiteY2" fmla="*/ 2368930 h 2635307"/>
                <a:gd name="connsiteX3" fmla="*/ 8389 w 1973817"/>
                <a:gd name="connsiteY3" fmla="*/ 2561219 h 2635307"/>
                <a:gd name="connsiteX4" fmla="*/ 786888 w 1973817"/>
                <a:gd name="connsiteY4" fmla="*/ 2635307 h 2635307"/>
                <a:gd name="connsiteX5" fmla="*/ 1963128 w 1973817"/>
                <a:gd name="connsiteY5" fmla="*/ 853035 h 2635307"/>
                <a:gd name="connsiteX6" fmla="*/ 1973817 w 1973817"/>
                <a:gd name="connsiteY6" fmla="*/ 0 h 2635307"/>
                <a:gd name="connsiteX0" fmla="*/ 1973817 w 1973817"/>
                <a:gd name="connsiteY0" fmla="*/ 0 h 2635307"/>
                <a:gd name="connsiteX1" fmla="*/ 1592961 w 1973817"/>
                <a:gd name="connsiteY1" fmla="*/ 423 h 2635307"/>
                <a:gd name="connsiteX2" fmla="*/ 0 w 1973817"/>
                <a:gd name="connsiteY2" fmla="*/ 2368930 h 2635307"/>
                <a:gd name="connsiteX3" fmla="*/ 8389 w 1973817"/>
                <a:gd name="connsiteY3" fmla="*/ 2561219 h 2635307"/>
                <a:gd name="connsiteX4" fmla="*/ 786888 w 1973817"/>
                <a:gd name="connsiteY4" fmla="*/ 2635307 h 2635307"/>
                <a:gd name="connsiteX5" fmla="*/ 1971517 w 1973817"/>
                <a:gd name="connsiteY5" fmla="*/ 848664 h 2635307"/>
                <a:gd name="connsiteX6" fmla="*/ 1973817 w 1973817"/>
                <a:gd name="connsiteY6" fmla="*/ 0 h 2635307"/>
                <a:gd name="connsiteX0" fmla="*/ 1975914 w 1975914"/>
                <a:gd name="connsiteY0" fmla="*/ 0 h 2635307"/>
                <a:gd name="connsiteX1" fmla="*/ 1592961 w 1975914"/>
                <a:gd name="connsiteY1" fmla="*/ 423 h 2635307"/>
                <a:gd name="connsiteX2" fmla="*/ 0 w 1975914"/>
                <a:gd name="connsiteY2" fmla="*/ 2368930 h 2635307"/>
                <a:gd name="connsiteX3" fmla="*/ 8389 w 1975914"/>
                <a:gd name="connsiteY3" fmla="*/ 2561219 h 2635307"/>
                <a:gd name="connsiteX4" fmla="*/ 786888 w 1975914"/>
                <a:gd name="connsiteY4" fmla="*/ 2635307 h 2635307"/>
                <a:gd name="connsiteX5" fmla="*/ 1971517 w 1975914"/>
                <a:gd name="connsiteY5" fmla="*/ 848664 h 2635307"/>
                <a:gd name="connsiteX6" fmla="*/ 1975914 w 1975914"/>
                <a:gd name="connsiteY6" fmla="*/ 0 h 2635307"/>
                <a:gd name="connsiteX0" fmla="*/ 1975914 w 1975914"/>
                <a:gd name="connsiteY0" fmla="*/ 0 h 2635307"/>
                <a:gd name="connsiteX1" fmla="*/ 1592961 w 1975914"/>
                <a:gd name="connsiteY1" fmla="*/ 423 h 2635307"/>
                <a:gd name="connsiteX2" fmla="*/ 0 w 1975914"/>
                <a:gd name="connsiteY2" fmla="*/ 2368930 h 2635307"/>
                <a:gd name="connsiteX3" fmla="*/ 8389 w 1975914"/>
                <a:gd name="connsiteY3" fmla="*/ 2561219 h 2635307"/>
                <a:gd name="connsiteX4" fmla="*/ 786888 w 1975914"/>
                <a:gd name="connsiteY4" fmla="*/ 2635307 h 2635307"/>
                <a:gd name="connsiteX5" fmla="*/ 1973614 w 1975914"/>
                <a:gd name="connsiteY5" fmla="*/ 848664 h 2635307"/>
                <a:gd name="connsiteX6" fmla="*/ 1975914 w 1975914"/>
                <a:gd name="connsiteY6" fmla="*/ 0 h 2635307"/>
                <a:gd name="connsiteX0" fmla="*/ 1973817 w 1974263"/>
                <a:gd name="connsiteY0" fmla="*/ 0 h 2637493"/>
                <a:gd name="connsiteX1" fmla="*/ 1592961 w 1974263"/>
                <a:gd name="connsiteY1" fmla="*/ 2609 h 2637493"/>
                <a:gd name="connsiteX2" fmla="*/ 0 w 1974263"/>
                <a:gd name="connsiteY2" fmla="*/ 2371116 h 2637493"/>
                <a:gd name="connsiteX3" fmla="*/ 8389 w 1974263"/>
                <a:gd name="connsiteY3" fmla="*/ 2563405 h 2637493"/>
                <a:gd name="connsiteX4" fmla="*/ 786888 w 1974263"/>
                <a:gd name="connsiteY4" fmla="*/ 2637493 h 2637493"/>
                <a:gd name="connsiteX5" fmla="*/ 1973614 w 1974263"/>
                <a:gd name="connsiteY5" fmla="*/ 850850 h 2637493"/>
                <a:gd name="connsiteX6" fmla="*/ 1973817 w 1974263"/>
                <a:gd name="connsiteY6" fmla="*/ 0 h 2637493"/>
                <a:gd name="connsiteX0" fmla="*/ 1978012 w 1978012"/>
                <a:gd name="connsiteY0" fmla="*/ 0 h 2637493"/>
                <a:gd name="connsiteX1" fmla="*/ 1592961 w 1978012"/>
                <a:gd name="connsiteY1" fmla="*/ 2609 h 2637493"/>
                <a:gd name="connsiteX2" fmla="*/ 0 w 1978012"/>
                <a:gd name="connsiteY2" fmla="*/ 2371116 h 2637493"/>
                <a:gd name="connsiteX3" fmla="*/ 8389 w 1978012"/>
                <a:gd name="connsiteY3" fmla="*/ 2563405 h 2637493"/>
                <a:gd name="connsiteX4" fmla="*/ 786888 w 1978012"/>
                <a:gd name="connsiteY4" fmla="*/ 2637493 h 2637493"/>
                <a:gd name="connsiteX5" fmla="*/ 1973614 w 1978012"/>
                <a:gd name="connsiteY5" fmla="*/ 850850 h 2637493"/>
                <a:gd name="connsiteX6" fmla="*/ 1978012 w 1978012"/>
                <a:gd name="connsiteY6" fmla="*/ 0 h 2637493"/>
                <a:gd name="connsiteX0" fmla="*/ 1978012 w 1978012"/>
                <a:gd name="connsiteY0" fmla="*/ 0 h 2563405"/>
                <a:gd name="connsiteX1" fmla="*/ 1592961 w 1978012"/>
                <a:gd name="connsiteY1" fmla="*/ 2609 h 2563405"/>
                <a:gd name="connsiteX2" fmla="*/ 0 w 1978012"/>
                <a:gd name="connsiteY2" fmla="*/ 2371116 h 2563405"/>
                <a:gd name="connsiteX3" fmla="*/ 8389 w 1978012"/>
                <a:gd name="connsiteY3" fmla="*/ 2563405 h 2563405"/>
                <a:gd name="connsiteX4" fmla="*/ 870771 w 1978012"/>
                <a:gd name="connsiteY4" fmla="*/ 2509301 h 2563405"/>
                <a:gd name="connsiteX5" fmla="*/ 1973614 w 1978012"/>
                <a:gd name="connsiteY5" fmla="*/ 850850 h 2563405"/>
                <a:gd name="connsiteX6" fmla="*/ 1978012 w 1978012"/>
                <a:gd name="connsiteY6" fmla="*/ 0 h 2563405"/>
                <a:gd name="connsiteX0" fmla="*/ 1978012 w 1978012"/>
                <a:gd name="connsiteY0" fmla="*/ 0 h 2516790"/>
                <a:gd name="connsiteX1" fmla="*/ 1592961 w 1978012"/>
                <a:gd name="connsiteY1" fmla="*/ 2609 h 2516790"/>
                <a:gd name="connsiteX2" fmla="*/ 0 w 1978012"/>
                <a:gd name="connsiteY2" fmla="*/ 2371116 h 2516790"/>
                <a:gd name="connsiteX3" fmla="*/ 2797 w 1978012"/>
                <a:gd name="connsiteY3" fmla="*/ 2516790 h 2516790"/>
                <a:gd name="connsiteX4" fmla="*/ 870771 w 1978012"/>
                <a:gd name="connsiteY4" fmla="*/ 2509301 h 2516790"/>
                <a:gd name="connsiteX5" fmla="*/ 1973614 w 1978012"/>
                <a:gd name="connsiteY5" fmla="*/ 850850 h 2516790"/>
                <a:gd name="connsiteX6" fmla="*/ 1978012 w 1978012"/>
                <a:gd name="connsiteY6" fmla="*/ 0 h 2516790"/>
                <a:gd name="connsiteX0" fmla="*/ 1978012 w 1978012"/>
                <a:gd name="connsiteY0" fmla="*/ 0 h 2516790"/>
                <a:gd name="connsiteX1" fmla="*/ 1592961 w 1978012"/>
                <a:gd name="connsiteY1" fmla="*/ 2609 h 2516790"/>
                <a:gd name="connsiteX2" fmla="*/ 0 w 1978012"/>
                <a:gd name="connsiteY2" fmla="*/ 2371116 h 2516790"/>
                <a:gd name="connsiteX3" fmla="*/ 2797 w 1978012"/>
                <a:gd name="connsiteY3" fmla="*/ 2516790 h 2516790"/>
                <a:gd name="connsiteX4" fmla="*/ 870771 w 1978012"/>
                <a:gd name="connsiteY4" fmla="*/ 2509301 h 2516790"/>
                <a:gd name="connsiteX5" fmla="*/ 1973614 w 1978012"/>
                <a:gd name="connsiteY5" fmla="*/ 850850 h 2516790"/>
                <a:gd name="connsiteX6" fmla="*/ 1978012 w 1978012"/>
                <a:gd name="connsiteY6" fmla="*/ 0 h 2516790"/>
                <a:gd name="connsiteX0" fmla="*/ 1978012 w 1978012"/>
                <a:gd name="connsiteY0" fmla="*/ 0 h 2510963"/>
                <a:gd name="connsiteX1" fmla="*/ 1592961 w 1978012"/>
                <a:gd name="connsiteY1" fmla="*/ 2609 h 2510963"/>
                <a:gd name="connsiteX2" fmla="*/ 0 w 1978012"/>
                <a:gd name="connsiteY2" fmla="*/ 2371116 h 2510963"/>
                <a:gd name="connsiteX3" fmla="*/ 2797 w 1978012"/>
                <a:gd name="connsiteY3" fmla="*/ 2510963 h 2510963"/>
                <a:gd name="connsiteX4" fmla="*/ 870771 w 1978012"/>
                <a:gd name="connsiteY4" fmla="*/ 2509301 h 2510963"/>
                <a:gd name="connsiteX5" fmla="*/ 1973614 w 1978012"/>
                <a:gd name="connsiteY5" fmla="*/ 850850 h 2510963"/>
                <a:gd name="connsiteX6" fmla="*/ 1978012 w 1978012"/>
                <a:gd name="connsiteY6" fmla="*/ 0 h 2510963"/>
                <a:gd name="connsiteX0" fmla="*/ 1978012 w 1978012"/>
                <a:gd name="connsiteY0" fmla="*/ 0 h 2510963"/>
                <a:gd name="connsiteX1" fmla="*/ 1592961 w 1978012"/>
                <a:gd name="connsiteY1" fmla="*/ 2609 h 2510963"/>
                <a:gd name="connsiteX2" fmla="*/ 0 w 1978012"/>
                <a:gd name="connsiteY2" fmla="*/ 2371116 h 2510963"/>
                <a:gd name="connsiteX3" fmla="*/ 2797 w 1978012"/>
                <a:gd name="connsiteY3" fmla="*/ 2510963 h 2510963"/>
                <a:gd name="connsiteX4" fmla="*/ 870771 w 1978012"/>
                <a:gd name="connsiteY4" fmla="*/ 2509301 h 2510963"/>
                <a:gd name="connsiteX5" fmla="*/ 1973614 w 1978012"/>
                <a:gd name="connsiteY5" fmla="*/ 850850 h 2510963"/>
                <a:gd name="connsiteX6" fmla="*/ 1978012 w 1978012"/>
                <a:gd name="connsiteY6" fmla="*/ 0 h 2510963"/>
                <a:gd name="connsiteX0" fmla="*/ 1978012 w 1978012"/>
                <a:gd name="connsiteY0" fmla="*/ 0 h 2510963"/>
                <a:gd name="connsiteX1" fmla="*/ 1592961 w 1978012"/>
                <a:gd name="connsiteY1" fmla="*/ 2609 h 2510963"/>
                <a:gd name="connsiteX2" fmla="*/ 0 w 1978012"/>
                <a:gd name="connsiteY2" fmla="*/ 2371116 h 2510963"/>
                <a:gd name="connsiteX3" fmla="*/ 2797 w 1978012"/>
                <a:gd name="connsiteY3" fmla="*/ 2510963 h 2510963"/>
                <a:gd name="connsiteX4" fmla="*/ 865179 w 1978012"/>
                <a:gd name="connsiteY4" fmla="*/ 2491820 h 2510963"/>
                <a:gd name="connsiteX5" fmla="*/ 1973614 w 1978012"/>
                <a:gd name="connsiteY5" fmla="*/ 850850 h 2510963"/>
                <a:gd name="connsiteX6" fmla="*/ 1978012 w 1978012"/>
                <a:gd name="connsiteY6" fmla="*/ 0 h 2510963"/>
                <a:gd name="connsiteX0" fmla="*/ 1978012 w 1978012"/>
                <a:gd name="connsiteY0" fmla="*/ 0 h 2515128"/>
                <a:gd name="connsiteX1" fmla="*/ 1592961 w 1978012"/>
                <a:gd name="connsiteY1" fmla="*/ 2609 h 2515128"/>
                <a:gd name="connsiteX2" fmla="*/ 0 w 1978012"/>
                <a:gd name="connsiteY2" fmla="*/ 2371116 h 2515128"/>
                <a:gd name="connsiteX3" fmla="*/ 2797 w 1978012"/>
                <a:gd name="connsiteY3" fmla="*/ 2510963 h 2515128"/>
                <a:gd name="connsiteX4" fmla="*/ 865179 w 1978012"/>
                <a:gd name="connsiteY4" fmla="*/ 2515128 h 2515128"/>
                <a:gd name="connsiteX5" fmla="*/ 1973614 w 1978012"/>
                <a:gd name="connsiteY5" fmla="*/ 850850 h 2515128"/>
                <a:gd name="connsiteX6" fmla="*/ 1978012 w 1978012"/>
                <a:gd name="connsiteY6" fmla="*/ 0 h 2515128"/>
                <a:gd name="connsiteX0" fmla="*/ 1975385 w 1975385"/>
                <a:gd name="connsiteY0" fmla="*/ 0 h 2515128"/>
                <a:gd name="connsiteX1" fmla="*/ 1590334 w 1975385"/>
                <a:gd name="connsiteY1" fmla="*/ 2609 h 2515128"/>
                <a:gd name="connsiteX2" fmla="*/ 1567 w 1975385"/>
                <a:gd name="connsiteY2" fmla="*/ 2368932 h 2515128"/>
                <a:gd name="connsiteX3" fmla="*/ 170 w 1975385"/>
                <a:gd name="connsiteY3" fmla="*/ 2510963 h 2515128"/>
                <a:gd name="connsiteX4" fmla="*/ 862552 w 1975385"/>
                <a:gd name="connsiteY4" fmla="*/ 2515128 h 2515128"/>
                <a:gd name="connsiteX5" fmla="*/ 1970987 w 1975385"/>
                <a:gd name="connsiteY5" fmla="*/ 850850 h 2515128"/>
                <a:gd name="connsiteX6" fmla="*/ 1975385 w 1975385"/>
                <a:gd name="connsiteY6" fmla="*/ 0 h 2515128"/>
                <a:gd name="connsiteX0" fmla="*/ 1975385 w 1975385"/>
                <a:gd name="connsiteY0" fmla="*/ 0 h 2515128"/>
                <a:gd name="connsiteX1" fmla="*/ 1590334 w 1975385"/>
                <a:gd name="connsiteY1" fmla="*/ 2609 h 2515128"/>
                <a:gd name="connsiteX2" fmla="*/ 1567 w 1975385"/>
                <a:gd name="connsiteY2" fmla="*/ 2368932 h 2515128"/>
                <a:gd name="connsiteX3" fmla="*/ 170 w 1975385"/>
                <a:gd name="connsiteY3" fmla="*/ 2513149 h 2515128"/>
                <a:gd name="connsiteX4" fmla="*/ 862552 w 1975385"/>
                <a:gd name="connsiteY4" fmla="*/ 2515128 h 2515128"/>
                <a:gd name="connsiteX5" fmla="*/ 1970987 w 1975385"/>
                <a:gd name="connsiteY5" fmla="*/ 850850 h 2515128"/>
                <a:gd name="connsiteX6" fmla="*/ 1975385 w 1975385"/>
                <a:gd name="connsiteY6" fmla="*/ 0 h 2515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5385" h="2515128">
                  <a:moveTo>
                    <a:pt x="1975385" y="0"/>
                  </a:moveTo>
                  <a:lnTo>
                    <a:pt x="1590334" y="2609"/>
                  </a:lnTo>
                  <a:lnTo>
                    <a:pt x="1567" y="2368932"/>
                  </a:lnTo>
                  <a:cubicBezTo>
                    <a:pt x="2499" y="2417490"/>
                    <a:pt x="-762" y="2464591"/>
                    <a:pt x="170" y="2513149"/>
                  </a:cubicBezTo>
                  <a:lnTo>
                    <a:pt x="862552" y="2515128"/>
                  </a:lnTo>
                  <a:lnTo>
                    <a:pt x="1970987" y="850850"/>
                  </a:lnTo>
                  <a:cubicBezTo>
                    <a:pt x="1973152" y="616269"/>
                    <a:pt x="1973220" y="234581"/>
                    <a:pt x="1975385" y="0"/>
                  </a:cubicBezTo>
                  <a:close/>
                </a:path>
              </a:pathLst>
            </a:custGeom>
            <a:solidFill>
              <a:srgbClr val="ED7D31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Obdĺžnik 12">
            <a:extLst>
              <a:ext uri="{FF2B5EF4-FFF2-40B4-BE49-F238E27FC236}">
                <a16:creationId xmlns:a16="http://schemas.microsoft.com/office/drawing/2014/main" id="{98E6081C-B7BB-4C94-BA12-EDFF7F916AB3}"/>
              </a:ext>
            </a:extLst>
          </p:cNvPr>
          <p:cNvSpPr/>
          <p:nvPr/>
        </p:nvSpPr>
        <p:spPr bwMode="gray">
          <a:xfrm>
            <a:off x="-4160" y="3615866"/>
            <a:ext cx="9148161" cy="931862"/>
          </a:xfrm>
          <a:prstGeom prst="rect">
            <a:avLst/>
          </a:prstGeom>
          <a:gradFill flip="none" rotWithShape="1">
            <a:gsLst>
              <a:gs pos="60000">
                <a:schemeClr val="bg1"/>
              </a:gs>
              <a:gs pos="9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CB642B1B-B567-1722-E70D-93C1727947FF}"/>
              </a:ext>
            </a:extLst>
          </p:cNvPr>
          <p:cNvSpPr txBox="1"/>
          <p:nvPr/>
        </p:nvSpPr>
        <p:spPr bwMode="gray">
          <a:xfrm>
            <a:off x="226389" y="3789409"/>
            <a:ext cx="8017199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sk-SK" sz="2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odiel vystavenia slovenských výrobkov 2026</a:t>
            </a:r>
            <a:br>
              <a:rPr lang="sk-SK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sk-SK" sz="1600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+mj-lt"/>
                <a:ea typeface="+mj-ea"/>
                <a:cs typeface="+mj-cs"/>
              </a:rPr>
              <a:t>Hlavné výsledky </a:t>
            </a:r>
            <a:r>
              <a:rPr lang="sk-SK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| 2. jún 2026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6" descr="Vlajka Slovenská republika - 30 x 45 cm">
            <a:extLst>
              <a:ext uri="{FF2B5EF4-FFF2-40B4-BE49-F238E27FC236}">
                <a16:creationId xmlns:a16="http://schemas.microsoft.com/office/drawing/2014/main" id="{839A9861-B653-3335-EAE0-E0FE90E206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842972" y="3772237"/>
            <a:ext cx="646483" cy="604369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783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B7AE5-E47A-093B-526C-7D62A24CD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ABDE317-4769-4778-32A7-36E5EFA4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164841" cy="57608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sk-SK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Hlavné</a:t>
            </a:r>
            <a:r>
              <a:rPr lang="sk-SK" sz="1800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 </a:t>
            </a:r>
            <a:r>
              <a:rPr lang="sk-SK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výsledky</a:t>
            </a:r>
            <a:endParaRPr lang="en-US" dirty="0">
              <a:gradFill>
                <a:gsLst>
                  <a:gs pos="57000">
                    <a:srgbClr val="F36F21"/>
                  </a:gs>
                  <a:gs pos="0">
                    <a:srgbClr val="F0AB00"/>
                  </a:gs>
                </a:gsLst>
                <a:lin ang="10800000" scaled="1"/>
              </a:gradFill>
              <a:latin typeface="Arial"/>
            </a:endParaRPr>
          </a:p>
        </p:txBody>
      </p:sp>
      <p:sp>
        <p:nvSpPr>
          <p:cNvPr id="110" name="Obdĺžnik: zaoblené rohy 109">
            <a:extLst>
              <a:ext uri="{FF2B5EF4-FFF2-40B4-BE49-F238E27FC236}">
                <a16:creationId xmlns:a16="http://schemas.microsoft.com/office/drawing/2014/main" id="{55C6E691-CE6C-4D8E-4B54-6D6A8685EB60}"/>
              </a:ext>
            </a:extLst>
          </p:cNvPr>
          <p:cNvSpPr/>
          <p:nvPr/>
        </p:nvSpPr>
        <p:spPr bwMode="gray">
          <a:xfrm>
            <a:off x="390625" y="2266308"/>
            <a:ext cx="6772829" cy="1378457"/>
          </a:xfrm>
          <a:prstGeom prst="roundRect">
            <a:avLst>
              <a:gd name="adj" fmla="val 8488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FA7222"/>
              </a:buClr>
              <a:defRPr/>
            </a:pPr>
            <a:endParaRPr lang="sk-SK" sz="1200" b="1" dirty="0">
              <a:gradFill>
                <a:gsLst>
                  <a:gs pos="0">
                    <a:srgbClr val="F0AB00"/>
                  </a:gs>
                  <a:gs pos="57000">
                    <a:srgbClr val="F36F21"/>
                  </a:gs>
                </a:gsLst>
                <a:lin ang="10800000" scaled="1"/>
              </a:gradFill>
            </a:endParaRPr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F69D959F-4642-C36E-F021-D699DDC14FA2}"/>
              </a:ext>
            </a:extLst>
          </p:cNvPr>
          <p:cNvSpPr txBox="1"/>
          <p:nvPr/>
        </p:nvSpPr>
        <p:spPr bwMode="gray">
          <a:xfrm>
            <a:off x="390625" y="975754"/>
            <a:ext cx="815340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A7222"/>
              </a:buClr>
            </a:pPr>
            <a:r>
              <a:rPr lang="sk-SK" sz="1200" b="1" dirty="0">
                <a:gradFill>
                  <a:gsLst>
                    <a:gs pos="0">
                      <a:srgbClr val="F0AB00"/>
                    </a:gs>
                    <a:gs pos="57000">
                      <a:srgbClr val="F36F21"/>
                    </a:gs>
                  </a:gsLst>
                  <a:lin ang="10800000" scaled="1"/>
                </a:gradFill>
              </a:rPr>
              <a:t>Slovenské výrobky si udržali svoju pozíciu</a:t>
            </a:r>
          </a:p>
          <a:p>
            <a:pPr marL="17145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Podiel vystavených slovenských výrobkov sa udržal na rovnakej úrovni ako v 2025. </a:t>
            </a: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Medziročný nárast bol menej ako 0,1 percentuálneho bodu.</a:t>
            </a:r>
            <a:endParaRPr lang="sk-SK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Hoci sa celkový priemer 40,4 % </a:t>
            </a: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nezmenil, viaceré siete zvýšili a viaceré znížili podiel vystavených slovenských výrobkov</a:t>
            </a:r>
            <a:endParaRPr lang="sk-SK" sz="1200" dirty="0"/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0D77A5D8-B17D-DFEA-BAFF-646AAF089FD5}"/>
              </a:ext>
            </a:extLst>
          </p:cNvPr>
          <p:cNvSpPr txBox="1"/>
          <p:nvPr/>
        </p:nvSpPr>
        <p:spPr bwMode="gray">
          <a:xfrm>
            <a:off x="363353" y="2191121"/>
            <a:ext cx="8153400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FA7222"/>
              </a:buClr>
              <a:defRPr/>
            </a:pPr>
            <a:r>
              <a:rPr lang="sk-SK" sz="1200" b="1" dirty="0">
                <a:gradFill>
                  <a:gsLst>
                    <a:gs pos="0">
                      <a:srgbClr val="F0AB00"/>
                    </a:gs>
                    <a:gs pos="57000">
                      <a:srgbClr val="F36F21"/>
                    </a:gs>
                  </a:gsLst>
                  <a:lin ang="10800000" scaled="1"/>
                </a:gradFill>
              </a:rPr>
              <a:t>Najväčšie zastúpenie slovenských výrobkov je dlhodobo v COOP Jednota</a:t>
            </a:r>
          </a:p>
          <a:p>
            <a:pPr marL="171450" lvl="0" indent="-171450">
              <a:spcAft>
                <a:spcPts val="12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COOP Jednota </a:t>
            </a: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si drží najvyšší podiel vystavených slovenských výrobkov, z dlhodobého hľadiska však aj v tejto sieti podiel vystavených slovenských výrobkov jemne klesá. </a:t>
            </a: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ruhé najvyššie zastúpenie slovenských výrobkov má sieť </a:t>
            </a:r>
            <a:r>
              <a:rPr lang="sk-SK" sz="12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Fresh</a:t>
            </a: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, nasleduje CBA.</a:t>
            </a:r>
          </a:p>
          <a:p>
            <a:pPr marL="628650" lvl="1" indent="-171450">
              <a:spcAft>
                <a:spcPts val="12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Na predných priečkach sú tie siete predajní, ktoré prevádzkujú zväčša menšie formáty predajní.</a:t>
            </a:r>
          </a:p>
          <a:p>
            <a:pPr marL="171450" lvl="0" indent="-171450">
              <a:spcAft>
                <a:spcPts val="12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Väčšina sietí, ktoré prevádzkujú supermarkety a hypermarkety – Terno, Tesco, Kaufland, Billa  majú podiel vystavených slovenských výrobkov na úrovni 40-45%. </a:t>
            </a:r>
          </a:p>
          <a:p>
            <a:pPr marL="171450" lvl="0" indent="-171450">
              <a:spcAft>
                <a:spcPts val="12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iskontné siete – Lidl ale aj </a:t>
            </a:r>
            <a:r>
              <a:rPr lang="sk-SK" sz="12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Biedronka</a:t>
            </a:r>
            <a:r>
              <a:rPr lang="sk-SK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 – majú približne tretinu vystavených výrobkov pôvodom zo Slovenska. Medziročne rastie mierne podiel najmä v Lidli, naopak, klesá v Bille.</a:t>
            </a:r>
          </a:p>
        </p:txBody>
      </p:sp>
    </p:spTree>
    <p:extLst>
      <p:ext uri="{BB962C8B-B14F-4D97-AF65-F5344CB8AC3E}">
        <p14:creationId xmlns:p14="http://schemas.microsoft.com/office/powerpoint/2010/main" val="1683731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CFC05-A2B0-3963-E208-CD2C1FC469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9684799-0175-FC64-7153-AB9B003C9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164841" cy="57608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sk-SK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Hlavné</a:t>
            </a:r>
            <a:r>
              <a:rPr lang="sk-SK" sz="1800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 </a:t>
            </a:r>
            <a:r>
              <a:rPr lang="sk-SK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výsledky</a:t>
            </a:r>
            <a:endParaRPr lang="en-US" dirty="0">
              <a:gradFill>
                <a:gsLst>
                  <a:gs pos="57000">
                    <a:srgbClr val="F36F21"/>
                  </a:gs>
                  <a:gs pos="0">
                    <a:srgbClr val="F0AB00"/>
                  </a:gs>
                </a:gsLst>
                <a:lin ang="10800000" scaled="1"/>
              </a:gradFill>
              <a:latin typeface="Arial"/>
            </a:endParaRPr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DBD5D3F8-7EBD-1524-5897-E8700A76AE12}"/>
              </a:ext>
            </a:extLst>
          </p:cNvPr>
          <p:cNvSpPr txBox="1"/>
          <p:nvPr/>
        </p:nvSpPr>
        <p:spPr bwMode="gray">
          <a:xfrm>
            <a:off x="319518" y="841546"/>
            <a:ext cx="7740035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FA7222"/>
              </a:buClr>
            </a:pPr>
            <a:r>
              <a:rPr lang="sk-SK" sz="1200" b="1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</a:rPr>
              <a:t>Zastúpenie slovenských výrobkov v kategóriách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lovenské výrobky tvoria viac ako polovicu ponuky len v kategóriách </a:t>
            </a:r>
            <a:r>
              <a:rPr lang="sk-S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lieko, minerálne vody a víno</a:t>
            </a: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Hranicu 40% domácej produkcie prekračuje pivo, mliečne výrobky - ostatné, balené mäsové výrobky, alkohol a mliečne výrobky – prírodné syry. 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estoviny spolu so spracovanými produktmi si udržiavajú viac ako 30 % podiel, zatiaľ čo trvanlivé pečivo, nealko nápoje a čokoládové cukrovinky sa pohybujú nad úrovňou 20 %.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Najmenej zastúpené sú kategórie: konzervované produkty, oleje a cukrovinky.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V roku 2026 sa mierne znížilo zastúpenie slovenských výrobkov v piatich kategóriách, a to: mlieko a cukrovinky – nečokoládové, vody a minerálky, víno a oleje. </a:t>
            </a:r>
          </a:p>
          <a:p>
            <a:pPr marL="628650" lvl="1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  <a:defRPr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Výraznejší nárast nebol zaznamenaný v žiadnej zo sledovaných kategórií.</a:t>
            </a: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8CF5C19D-8CA6-A06F-77FB-5A760AE429BD}"/>
              </a:ext>
            </a:extLst>
          </p:cNvPr>
          <p:cNvSpPr txBox="1"/>
          <p:nvPr/>
        </p:nvSpPr>
        <p:spPr bwMode="gray">
          <a:xfrm>
            <a:off x="319518" y="3259943"/>
            <a:ext cx="781972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FA7222"/>
              </a:buClr>
            </a:pPr>
            <a:r>
              <a:rPr lang="sk-SK" sz="1200" b="1" dirty="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</a:rPr>
              <a:t>Západné Slovensko s najnižším podielom domácich produktov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dajne na západnom Slovensku (Bratislavský, Trnavský a Trenčiansky kraj) dosahujú </a:t>
            </a:r>
            <a:r>
              <a:rPr lang="sk-SK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ižší podiel</a:t>
            </a: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lovenských výrobkov, než je celoslovenský priemer.</a:t>
            </a:r>
          </a:p>
          <a:p>
            <a:pPr marL="171450" lvl="0" indent="-171450">
              <a:spcAft>
                <a:spcPts val="600"/>
              </a:spcAft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Najväčší podiel </a:t>
            </a:r>
            <a:r>
              <a:rPr lang="sk-S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lovenských výrobkov je vystavený v predajniach na strednom Slovensku (najmä v Banskobystrickom kraji).</a:t>
            </a:r>
            <a:endParaRPr lang="sk-SK" sz="1200" dirty="0"/>
          </a:p>
        </p:txBody>
      </p:sp>
    </p:spTree>
    <p:extLst>
      <p:ext uri="{BB962C8B-B14F-4D97-AF65-F5344CB8AC3E}">
        <p14:creationId xmlns:p14="http://schemas.microsoft.com/office/powerpoint/2010/main" val="14835506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45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C9E2C1-62BD-4ECE-9E51-59E1BF03E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sk-SK" sz="2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effectLst/>
                <a:uLnTx/>
                <a:uFillTx/>
                <a:latin typeface="Arial"/>
                <a:ea typeface="+mj-ea"/>
                <a:cs typeface="+mj-cs"/>
              </a:rPr>
              <a:t>Dizajn prieskumu</a:t>
            </a:r>
            <a:endParaRPr lang="sk-SK"/>
          </a:p>
        </p:txBody>
      </p:sp>
      <p:sp>
        <p:nvSpPr>
          <p:cNvPr id="7" name="BlokTextu 6">
            <a:extLst>
              <a:ext uri="{FF2B5EF4-FFF2-40B4-BE49-F238E27FC236}">
                <a16:creationId xmlns:a16="http://schemas.microsoft.com/office/drawing/2014/main" id="{1AE48894-5D8F-4088-BCD5-1E24ED6B426B}"/>
              </a:ext>
            </a:extLst>
          </p:cNvPr>
          <p:cNvSpPr txBox="1"/>
          <p:nvPr/>
        </p:nvSpPr>
        <p:spPr bwMode="gray">
          <a:xfrm>
            <a:off x="863588" y="2185831"/>
            <a:ext cx="3600000" cy="3770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Bef>
                <a:spcPts val="300"/>
              </a:spcBef>
              <a:buClr>
                <a:srgbClr val="FF6600"/>
              </a:buClr>
              <a:buFont typeface="Wingdings" panose="05000000000000000000" pitchFamily="2" charset="2"/>
              <a:buChar char="§"/>
              <a:tabLst>
                <a:tab pos="1254125" algn="l"/>
              </a:tabLst>
            </a:pPr>
            <a:r>
              <a:rPr lang="sk-SK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Kvantitatívne zisťovanie </a:t>
            </a:r>
          </a:p>
          <a:p>
            <a:pPr marL="228600" indent="-228600">
              <a:spcBef>
                <a:spcPts val="300"/>
              </a:spcBef>
              <a:buClr>
                <a:srgbClr val="FF6600"/>
              </a:buClr>
              <a:buFont typeface="Wingdings" panose="05000000000000000000" pitchFamily="2" charset="2"/>
              <a:buChar char="§"/>
              <a:tabLst>
                <a:tab pos="1254125" algn="l"/>
              </a:tabLst>
            </a:pPr>
            <a:r>
              <a:rPr lang="sk-SK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Osobný zber dát</a:t>
            </a: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E6196B56-A291-4FD9-9A82-5D23B1BB58AC}"/>
              </a:ext>
            </a:extLst>
          </p:cNvPr>
          <p:cNvSpPr txBox="1"/>
          <p:nvPr/>
        </p:nvSpPr>
        <p:spPr bwMode="gray">
          <a:xfrm>
            <a:off x="863588" y="3092005"/>
            <a:ext cx="3600000" cy="5463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Bef>
                <a:spcPts val="300"/>
              </a:spcBef>
              <a:buClr>
                <a:srgbClr val="FF6600"/>
              </a:buClr>
              <a:buFont typeface="Wingdings" panose="05000000000000000000" pitchFamily="2" charset="2"/>
              <a:buChar char="§"/>
              <a:tabLst>
                <a:tab pos="1254125" algn="l"/>
              </a:tabLst>
            </a:pPr>
            <a:r>
              <a:rPr lang="sk-SK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330 predajní </a:t>
            </a:r>
            <a:r>
              <a:rPr lang="sk-SK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deviartich</a:t>
            </a:r>
            <a:r>
              <a:rPr lang="sk-SK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maloobchodných sietí </a:t>
            </a:r>
            <a:br>
              <a:rPr lang="sk-SK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sk-SK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na celom Slovensku</a:t>
            </a:r>
          </a:p>
          <a:p>
            <a:pPr>
              <a:spcBef>
                <a:spcPts val="300"/>
              </a:spcBef>
            </a:pPr>
            <a:endParaRPr lang="sk-SK" sz="11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CD34C7A0-CA91-4A60-AB2F-E483249AB29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63588" y="1950278"/>
            <a:ext cx="1401557" cy="2182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300"/>
              </a:spcBef>
            </a:pPr>
            <a:r>
              <a:rPr lang="sk-SK" sz="1100" b="1"/>
              <a:t>Metodológia</a:t>
            </a:r>
            <a:endParaRPr lang="en-US" sz="11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C68118-F64E-4C4E-995B-E8D219FBF5A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63588" y="2838886"/>
            <a:ext cx="2052473" cy="22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300"/>
              </a:spcBef>
            </a:pPr>
            <a:r>
              <a:rPr lang="sk-SK" sz="1100" b="1"/>
              <a:t>Vzorka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B8099635-5919-4EBC-AAEB-BFD1EE9F961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63588" y="3628609"/>
            <a:ext cx="2052473" cy="21866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300"/>
              </a:spcBef>
            </a:pPr>
            <a:r>
              <a:rPr lang="sk-SK" sz="1100" b="1"/>
              <a:t>Realizácia zberu dát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90ED68B6-C326-4F30-AC76-A9BBB7002FC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63588" y="1095587"/>
            <a:ext cx="2052473" cy="21824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300"/>
              </a:spcBef>
            </a:pPr>
            <a:r>
              <a:rPr lang="sk-SK" sz="1200" b="1"/>
              <a:t>Predmet prieskumu</a:t>
            </a:r>
          </a:p>
        </p:txBody>
      </p:sp>
      <p:sp>
        <p:nvSpPr>
          <p:cNvPr id="31" name="BlokTextu 30">
            <a:extLst>
              <a:ext uri="{FF2B5EF4-FFF2-40B4-BE49-F238E27FC236}">
                <a16:creationId xmlns:a16="http://schemas.microsoft.com/office/drawing/2014/main" id="{7519A705-EABC-4ADA-906F-A513767987CE}"/>
              </a:ext>
            </a:extLst>
          </p:cNvPr>
          <p:cNvSpPr txBox="1"/>
          <p:nvPr/>
        </p:nvSpPr>
        <p:spPr bwMode="gray">
          <a:xfrm>
            <a:off x="877185" y="1369007"/>
            <a:ext cx="4412146" cy="5463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FA7222"/>
              </a:buClr>
              <a:buFont typeface="Wingdings" panose="05000000000000000000" pitchFamily="2" charset="2"/>
              <a:buChar char="§"/>
            </a:pPr>
            <a:r>
              <a:rPr lang="sk-SK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Zistenie podielu </a:t>
            </a:r>
            <a:r>
              <a:rPr lang="sk-SK" sz="11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lovenských výrobkov </a:t>
            </a:r>
            <a:r>
              <a:rPr lang="sk-SK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sk-SK" sz="11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rivátnych značiek </a:t>
            </a:r>
            <a:r>
              <a:rPr lang="sk-SK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na vystavených výrobkoch v slovenských maloobchodných sieťach.</a:t>
            </a:r>
          </a:p>
          <a:p>
            <a:pPr>
              <a:spcBef>
                <a:spcPts val="300"/>
              </a:spcBef>
            </a:pPr>
            <a:endParaRPr lang="sk-SK" sz="11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dĺžnik: odstrihnutý jeden roh 12">
            <a:extLst>
              <a:ext uri="{FF2B5EF4-FFF2-40B4-BE49-F238E27FC236}">
                <a16:creationId xmlns:a16="http://schemas.microsoft.com/office/drawing/2014/main" id="{E5EEC34A-C313-49AD-B74A-AF6959C77866}"/>
              </a:ext>
            </a:extLst>
          </p:cNvPr>
          <p:cNvSpPr/>
          <p:nvPr/>
        </p:nvSpPr>
        <p:spPr bwMode="gray">
          <a:xfrm rot="5400000">
            <a:off x="237178" y="1942637"/>
            <a:ext cx="426114" cy="426114"/>
          </a:xfrm>
          <a:prstGeom prst="ellipse">
            <a:avLst/>
          </a:prstGeom>
          <a:solidFill>
            <a:srgbClr val="F6D50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bdĺžnik: odstrihnutý jeden roh 16">
            <a:extLst>
              <a:ext uri="{FF2B5EF4-FFF2-40B4-BE49-F238E27FC236}">
                <a16:creationId xmlns:a16="http://schemas.microsoft.com/office/drawing/2014/main" id="{7F5AA813-E735-43E2-8547-F52C4B1A4CCD}"/>
              </a:ext>
            </a:extLst>
          </p:cNvPr>
          <p:cNvSpPr/>
          <p:nvPr/>
        </p:nvSpPr>
        <p:spPr bwMode="gray">
          <a:xfrm rot="16200000">
            <a:off x="237178" y="2819722"/>
            <a:ext cx="426114" cy="426114"/>
          </a:xfrm>
          <a:prstGeom prst="ellipse">
            <a:avLst/>
          </a:prstGeom>
          <a:solidFill>
            <a:srgbClr val="C1B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bdĺžnik: odstrihnutý jeden roh 24">
            <a:extLst>
              <a:ext uri="{FF2B5EF4-FFF2-40B4-BE49-F238E27FC236}">
                <a16:creationId xmlns:a16="http://schemas.microsoft.com/office/drawing/2014/main" id="{BEC700A3-7D28-4D60-9ABF-5C09FCC82129}"/>
              </a:ext>
            </a:extLst>
          </p:cNvPr>
          <p:cNvSpPr/>
          <p:nvPr/>
        </p:nvSpPr>
        <p:spPr bwMode="gray">
          <a:xfrm>
            <a:off x="237178" y="1074962"/>
            <a:ext cx="426114" cy="426114"/>
          </a:xfrm>
          <a:prstGeom prst="ellipse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Grafický objekt 31" descr="Kruhy so šípkami">
            <a:extLst>
              <a:ext uri="{FF2B5EF4-FFF2-40B4-BE49-F238E27FC236}">
                <a16:creationId xmlns:a16="http://schemas.microsoft.com/office/drawing/2014/main" id="{29CD79A3-A6FC-47C1-8D55-55B5547AF7B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8609" y="1983433"/>
            <a:ext cx="334972" cy="334972"/>
          </a:xfrm>
          <a:prstGeom prst="rect">
            <a:avLst/>
          </a:prstGeom>
        </p:spPr>
      </p:pic>
      <p:pic>
        <p:nvPicPr>
          <p:cNvPr id="33" name="Grafický objekt 32" descr="Bublina chatu">
            <a:extLst>
              <a:ext uri="{FF2B5EF4-FFF2-40B4-BE49-F238E27FC236}">
                <a16:creationId xmlns:a16="http://schemas.microsoft.com/office/drawing/2014/main" id="{F1BD6654-2CE6-4088-8D36-A4788E72A24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288609" y="1120116"/>
            <a:ext cx="345468" cy="345468"/>
          </a:xfrm>
          <a:prstGeom prst="rect">
            <a:avLst/>
          </a:prstGeom>
        </p:spPr>
      </p:pic>
      <p:grpSp>
        <p:nvGrpSpPr>
          <p:cNvPr id="34" name="Skupina 33">
            <a:extLst>
              <a:ext uri="{FF2B5EF4-FFF2-40B4-BE49-F238E27FC236}">
                <a16:creationId xmlns:a16="http://schemas.microsoft.com/office/drawing/2014/main" id="{95917E0B-EBF2-4B56-9133-4443A726A7E3}"/>
              </a:ext>
            </a:extLst>
          </p:cNvPr>
          <p:cNvGrpSpPr/>
          <p:nvPr/>
        </p:nvGrpSpPr>
        <p:grpSpPr>
          <a:xfrm>
            <a:off x="237178" y="3588241"/>
            <a:ext cx="468047" cy="468047"/>
            <a:chOff x="215521" y="3416103"/>
            <a:chExt cx="468047" cy="468047"/>
          </a:xfrm>
        </p:grpSpPr>
        <p:sp>
          <p:nvSpPr>
            <p:cNvPr id="35" name="Ovál 34">
              <a:extLst>
                <a:ext uri="{FF2B5EF4-FFF2-40B4-BE49-F238E27FC236}">
                  <a16:creationId xmlns:a16="http://schemas.microsoft.com/office/drawing/2014/main" id="{0687BC53-CA69-4362-811E-29C5F26D9B75}"/>
                </a:ext>
              </a:extLst>
            </p:cNvPr>
            <p:cNvSpPr/>
            <p:nvPr/>
          </p:nvSpPr>
          <p:spPr bwMode="gray">
            <a:xfrm>
              <a:off x="215521" y="3416103"/>
              <a:ext cx="468047" cy="468047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2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8" name="Grafický objekt 37" descr="Mesačný kalendár">
              <a:extLst>
                <a:ext uri="{FF2B5EF4-FFF2-40B4-BE49-F238E27FC236}">
                  <a16:creationId xmlns:a16="http://schemas.microsoft.com/office/drawing/2014/main" id="{2CB35078-7016-4F26-8451-D404B44A002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0946" y="3513243"/>
              <a:ext cx="292063" cy="292063"/>
            </a:xfrm>
            <a:prstGeom prst="rect">
              <a:avLst/>
            </a:prstGeom>
          </p:spPr>
        </p:pic>
      </p:grpSp>
      <p:pic>
        <p:nvPicPr>
          <p:cNvPr id="6" name="Grafický objekt 5" descr="Obchod obrys">
            <a:extLst>
              <a:ext uri="{FF2B5EF4-FFF2-40B4-BE49-F238E27FC236}">
                <a16:creationId xmlns:a16="http://schemas.microsoft.com/office/drawing/2014/main" id="{193E8B1B-2586-4CF4-894D-17CE3300F93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1340" y="2870894"/>
            <a:ext cx="337789" cy="337789"/>
          </a:xfrm>
          <a:prstGeom prst="rect">
            <a:avLst/>
          </a:prstGeom>
        </p:spPr>
      </p:pic>
      <p:sp>
        <p:nvSpPr>
          <p:cNvPr id="24" name="Ovál 23">
            <a:extLst>
              <a:ext uri="{FF2B5EF4-FFF2-40B4-BE49-F238E27FC236}">
                <a16:creationId xmlns:a16="http://schemas.microsoft.com/office/drawing/2014/main" id="{43C2A8EF-ECEC-423E-837B-5C46B2865583}"/>
              </a:ext>
            </a:extLst>
          </p:cNvPr>
          <p:cNvSpPr/>
          <p:nvPr/>
        </p:nvSpPr>
        <p:spPr bwMode="gray">
          <a:xfrm>
            <a:off x="6540002" y="3334655"/>
            <a:ext cx="1511786" cy="1511786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5BAF2454-324B-4E29-899A-B84726494823}"/>
              </a:ext>
            </a:extLst>
          </p:cNvPr>
          <p:cNvSpPr/>
          <p:nvPr/>
        </p:nvSpPr>
        <p:spPr bwMode="gray">
          <a:xfrm>
            <a:off x="5219507" y="2686640"/>
            <a:ext cx="1229936" cy="1229936"/>
          </a:xfrm>
          <a:prstGeom prst="ellipse">
            <a:avLst/>
          </a:prstGeom>
          <a:solidFill>
            <a:srgbClr val="B3CC7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FFA7A3B8-06AE-401A-8DCC-829C1F82B28A}"/>
              </a:ext>
            </a:extLst>
          </p:cNvPr>
          <p:cNvSpPr/>
          <p:nvPr/>
        </p:nvSpPr>
        <p:spPr bwMode="gray">
          <a:xfrm>
            <a:off x="7348725" y="843265"/>
            <a:ext cx="941128" cy="941128"/>
          </a:xfrm>
          <a:prstGeom prst="ellipse">
            <a:avLst/>
          </a:prstGeom>
          <a:solidFill>
            <a:srgbClr val="ECB6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8403D62C-8BBD-1D67-3049-8D9046011CA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93"/>
          <a:stretch/>
        </p:blipFill>
        <p:spPr>
          <a:xfrm>
            <a:off x="5730560" y="1299723"/>
            <a:ext cx="2695125" cy="2573416"/>
          </a:xfrm>
          <a:prstGeom prst="flowChartSummingJunction">
            <a:avLst/>
          </a:prstGeom>
        </p:spPr>
      </p:pic>
      <p:sp>
        <p:nvSpPr>
          <p:cNvPr id="4" name="BlokTextu 3">
            <a:extLst>
              <a:ext uri="{FF2B5EF4-FFF2-40B4-BE49-F238E27FC236}">
                <a16:creationId xmlns:a16="http://schemas.microsoft.com/office/drawing/2014/main" id="{DA9E52CA-3825-0C7E-549D-7947FEBCE9B0}"/>
              </a:ext>
            </a:extLst>
          </p:cNvPr>
          <p:cNvSpPr txBox="1"/>
          <p:nvPr/>
        </p:nvSpPr>
        <p:spPr bwMode="gray">
          <a:xfrm>
            <a:off x="863588" y="3865311"/>
            <a:ext cx="36000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 typeface="Wingdings" panose="05000000000000000000" pitchFamily="2" charset="2"/>
              <a:buChar char="§"/>
              <a:tabLst>
                <a:tab pos="1254125" algn="l"/>
              </a:tabLst>
              <a:defRPr/>
            </a:pPr>
            <a:r>
              <a:rPr kumimoji="0" lang="sk-SK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6.2. - </a:t>
            </a:r>
            <a:r>
              <a:rPr lang="sk-SK" sz="110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31</a:t>
            </a:r>
            <a:r>
              <a:rPr kumimoji="0" lang="sk-SK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3. 2026</a:t>
            </a:r>
          </a:p>
        </p:txBody>
      </p:sp>
    </p:spTree>
    <p:extLst>
      <p:ext uri="{BB962C8B-B14F-4D97-AF65-F5344CB8AC3E}">
        <p14:creationId xmlns:p14="http://schemas.microsoft.com/office/powerpoint/2010/main" val="1121305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>
            <a:extLst>
              <a:ext uri="{FF2B5EF4-FFF2-40B4-BE49-F238E27FC236}">
                <a16:creationId xmlns:a16="http://schemas.microsoft.com/office/drawing/2014/main" id="{EF5087A8-297E-4BAB-A5C4-12C70F5202D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684" y="195203"/>
            <a:ext cx="6923946" cy="57608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cap="small">
              <a:gradFill>
                <a:gsLst>
                  <a:gs pos="57000">
                    <a:srgbClr val="F36F21"/>
                  </a:gs>
                  <a:gs pos="0">
                    <a:srgbClr val="F0AB00"/>
                  </a:gs>
                </a:gsLst>
                <a:lin ang="10800000" scaled="1"/>
              </a:gradFill>
              <a:latin typeface="Arial"/>
            </a:endParaRPr>
          </a:p>
        </p:txBody>
      </p:sp>
      <p:sp>
        <p:nvSpPr>
          <p:cNvPr id="18" name="Nadpis 3">
            <a:extLst>
              <a:ext uri="{FF2B5EF4-FFF2-40B4-BE49-F238E27FC236}">
                <a16:creationId xmlns:a16="http://schemas.microsoft.com/office/drawing/2014/main" id="{FEA6C7B8-C4AF-424F-B346-3493DD456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</a:p>
        </p:txBody>
      </p:sp>
      <p:sp>
        <p:nvSpPr>
          <p:cNvPr id="15" name="Zástupný symbol textu 10">
            <a:extLst>
              <a:ext uri="{FF2B5EF4-FFF2-40B4-BE49-F238E27FC236}">
                <a16:creationId xmlns:a16="http://schemas.microsoft.com/office/drawing/2014/main" id="{6ADDBA54-1E63-477F-93FC-82B1DC23859D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93F9CDC8-A8DE-4648-BB70-2AEB6AFE72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7779541"/>
              </p:ext>
            </p:extLst>
          </p:nvPr>
        </p:nvGraphicFramePr>
        <p:xfrm>
          <a:off x="2073488" y="1291992"/>
          <a:ext cx="6812817" cy="3205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Tabuľka 30">
            <a:extLst>
              <a:ext uri="{FF2B5EF4-FFF2-40B4-BE49-F238E27FC236}">
                <a16:creationId xmlns:a16="http://schemas.microsoft.com/office/drawing/2014/main" id="{A58EA493-53A6-4BF1-85D5-5FEA379E6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883559"/>
              </p:ext>
            </p:extLst>
          </p:nvPr>
        </p:nvGraphicFramePr>
        <p:xfrm>
          <a:off x="2264845" y="1367392"/>
          <a:ext cx="6392764" cy="297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6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447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44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860561065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2402240871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2981160638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635093212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331256255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932513981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1940760903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513804334"/>
                    </a:ext>
                  </a:extLst>
                </a:gridCol>
                <a:gridCol w="388119">
                  <a:extLst>
                    <a:ext uri="{9D8B030D-6E8A-4147-A177-3AD203B41FA5}">
                      <a16:colId xmlns:a16="http://schemas.microsoft.com/office/drawing/2014/main" val="355304464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pPr algn="ctr"/>
                      <a:endParaRPr lang="sk-SK" sz="900" b="1">
                        <a:solidFill>
                          <a:srgbClr val="FF0000"/>
                        </a:solidFill>
                      </a:endParaRP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4,0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2,0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0,8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3,6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1,1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1,3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0,5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0,9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1,3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1,5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0,9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0,6</a:t>
                      </a:r>
                      <a:endParaRPr lang="sk-SK" sz="900" b="1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0,6</a:t>
                      </a:r>
                      <a:endParaRPr lang="sk-SK" sz="900" b="1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</a:rPr>
                        <a:t>- 0,8</a:t>
                      </a:r>
                      <a:endParaRPr lang="sk-SK" sz="900" b="1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900" b="1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0,1</a:t>
                      </a:r>
                    </a:p>
                  </a:txBody>
                  <a:tcPr marL="0" marR="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2" name="BlokTextu 31">
            <a:extLst>
              <a:ext uri="{FF2B5EF4-FFF2-40B4-BE49-F238E27FC236}">
                <a16:creationId xmlns:a16="http://schemas.microsoft.com/office/drawing/2014/main" id="{8A076FD0-F5B1-4237-B1B6-4619FA83C357}"/>
              </a:ext>
            </a:extLst>
          </p:cNvPr>
          <p:cNvSpPr txBox="1"/>
          <p:nvPr/>
        </p:nvSpPr>
        <p:spPr bwMode="gray">
          <a:xfrm>
            <a:off x="2393086" y="1111453"/>
            <a:ext cx="5693483" cy="1538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0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Porovnanie oproti predchádzajúcemu roku (vyjadrené v percentuálnych bodoch):</a:t>
            </a: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D116F156-D6E0-4947-A751-1CD5B85FB6A5}"/>
              </a:ext>
            </a:extLst>
          </p:cNvPr>
          <p:cNvGraphicFramePr/>
          <p:nvPr/>
        </p:nvGraphicFramePr>
        <p:xfrm>
          <a:off x="110380" y="1992404"/>
          <a:ext cx="1886482" cy="143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7" name="Skupina 16">
            <a:extLst>
              <a:ext uri="{FF2B5EF4-FFF2-40B4-BE49-F238E27FC236}">
                <a16:creationId xmlns:a16="http://schemas.microsoft.com/office/drawing/2014/main" id="{28D11A18-82F4-4353-94B0-3A585D8CDED5}"/>
              </a:ext>
            </a:extLst>
          </p:cNvPr>
          <p:cNvGrpSpPr/>
          <p:nvPr/>
        </p:nvGrpSpPr>
        <p:grpSpPr>
          <a:xfrm>
            <a:off x="465879" y="3251960"/>
            <a:ext cx="1350420" cy="435874"/>
            <a:chOff x="7636669" y="2561616"/>
            <a:chExt cx="1350420" cy="435874"/>
          </a:xfrm>
        </p:grpSpPr>
        <p:sp>
          <p:nvSpPr>
            <p:cNvPr id="20" name="BlokTextu 19">
              <a:extLst>
                <a:ext uri="{FF2B5EF4-FFF2-40B4-BE49-F238E27FC236}">
                  <a16:creationId xmlns:a16="http://schemas.microsoft.com/office/drawing/2014/main" id="{099D5425-EE32-4CA4-B0FD-20D8AFA91C81}"/>
                </a:ext>
              </a:extLst>
            </p:cNvPr>
            <p:cNvSpPr txBox="1"/>
            <p:nvPr/>
          </p:nvSpPr>
          <p:spPr bwMode="gray">
            <a:xfrm>
              <a:off x="7843526" y="2561616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lovenské výrobky</a:t>
              </a:r>
            </a:p>
          </p:txBody>
        </p:sp>
        <p:sp>
          <p:nvSpPr>
            <p:cNvPr id="21" name="BlokTextu 20">
              <a:extLst>
                <a:ext uri="{FF2B5EF4-FFF2-40B4-BE49-F238E27FC236}">
                  <a16:creationId xmlns:a16="http://schemas.microsoft.com/office/drawing/2014/main" id="{0D806AF8-ABCC-48CE-B90C-7E8D5D1E7037}"/>
                </a:ext>
              </a:extLst>
            </p:cNvPr>
            <p:cNvSpPr txBox="1"/>
            <p:nvPr/>
          </p:nvSpPr>
          <p:spPr bwMode="gray">
            <a:xfrm>
              <a:off x="7843526" y="2843602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Zahraničné výrobky</a:t>
              </a:r>
            </a:p>
          </p:txBody>
        </p:sp>
        <p:sp>
          <p:nvSpPr>
            <p:cNvPr id="23" name="Ovál 22">
              <a:extLst>
                <a:ext uri="{FF2B5EF4-FFF2-40B4-BE49-F238E27FC236}">
                  <a16:creationId xmlns:a16="http://schemas.microsoft.com/office/drawing/2014/main" id="{242A9105-B271-4B40-8899-E75FC750787E}"/>
                </a:ext>
              </a:extLst>
            </p:cNvPr>
            <p:cNvSpPr/>
            <p:nvPr/>
          </p:nvSpPr>
          <p:spPr bwMode="gray">
            <a:xfrm>
              <a:off x="7636669" y="2566560"/>
              <a:ext cx="144000" cy="144000"/>
            </a:xfrm>
            <a:prstGeom prst="ellipse">
              <a:avLst/>
            </a:prstGeom>
            <a:solidFill>
              <a:srgbClr val="FA722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2C4D86F0-7F60-49DF-9242-2CDB9B8DFCED}"/>
                </a:ext>
              </a:extLst>
            </p:cNvPr>
            <p:cNvSpPr/>
            <p:nvPr/>
          </p:nvSpPr>
          <p:spPr bwMode="gray">
            <a:xfrm>
              <a:off x="7636669" y="2847154"/>
              <a:ext cx="144000" cy="144000"/>
            </a:xfrm>
            <a:prstGeom prst="ellipse">
              <a:avLst/>
            </a:prstGeom>
            <a:solidFill>
              <a:srgbClr val="BFB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2" name="Objekt 5">
            <a:extLst>
              <a:ext uri="{FF2B5EF4-FFF2-40B4-BE49-F238E27FC236}">
                <a16:creationId xmlns:a16="http://schemas.microsoft.com/office/drawing/2014/main" id="{F1B4E0EF-9C66-309D-98B1-6EC1339E0F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998175"/>
              </p:ext>
            </p:extLst>
          </p:nvPr>
        </p:nvGraphicFramePr>
        <p:xfrm>
          <a:off x="-125261" y="1832866"/>
          <a:ext cx="2739555" cy="1306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hteck 3">
            <a:extLst>
              <a:ext uri="{FF2B5EF4-FFF2-40B4-BE49-F238E27FC236}">
                <a16:creationId xmlns:a16="http://schemas.microsoft.com/office/drawing/2014/main" id="{F37D0B76-4DE4-FC60-4A1C-E058A4F14C9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17098" y="2312095"/>
            <a:ext cx="942822" cy="357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>
                <a:solidFill>
                  <a:srgbClr val="FA7222"/>
                </a:solidFill>
              </a:rPr>
              <a:t>40</a:t>
            </a:r>
            <a:r>
              <a:rPr lang="sk-SK" sz="1600">
                <a:solidFill>
                  <a:srgbClr val="FA7222"/>
                </a:solidFill>
              </a:rPr>
              <a:t>,4</a:t>
            </a:r>
            <a:r>
              <a:rPr lang="sk-SK" sz="900">
                <a:solidFill>
                  <a:srgbClr val="FA7222"/>
                </a:solidFill>
              </a:rPr>
              <a:t>%</a:t>
            </a:r>
            <a:endParaRPr lang="en-US" sz="1200">
              <a:solidFill>
                <a:srgbClr val="FA7222"/>
              </a:solidFill>
            </a:endParaRPr>
          </a:p>
        </p:txBody>
      </p:sp>
      <p:sp>
        <p:nvSpPr>
          <p:cNvPr id="4" name="BlokTextu 3">
            <a:extLst>
              <a:ext uri="{FF2B5EF4-FFF2-40B4-BE49-F238E27FC236}">
                <a16:creationId xmlns:a16="http://schemas.microsoft.com/office/drawing/2014/main" id="{1C07246C-8FC9-77BA-2FB7-3BD808659506}"/>
              </a:ext>
            </a:extLst>
          </p:cNvPr>
          <p:cNvSpPr txBox="1"/>
          <p:nvPr/>
        </p:nvSpPr>
        <p:spPr bwMode="gray">
          <a:xfrm>
            <a:off x="8269646" y="4323068"/>
            <a:ext cx="423429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"/>
            <a:r>
              <a:rPr lang="sk-SK" sz="1100" b="1" i="0" u="none" strike="noStrike" kern="1200">
                <a:solidFill>
                  <a:srgbClr val="E55A00"/>
                </a:solidFill>
                <a:effectLst/>
                <a:latin typeface="+mn-lt"/>
                <a:ea typeface="+mn-ea"/>
                <a:cs typeface="+mn-cs"/>
              </a:rPr>
              <a:t>2026</a:t>
            </a:r>
          </a:p>
        </p:txBody>
      </p:sp>
      <p:cxnSp>
        <p:nvCxnSpPr>
          <p:cNvPr id="5" name="Rovná spojnica 4">
            <a:extLst>
              <a:ext uri="{FF2B5EF4-FFF2-40B4-BE49-F238E27FC236}">
                <a16:creationId xmlns:a16="http://schemas.microsoft.com/office/drawing/2014/main" id="{A3AC367D-4E61-19D7-4589-4E8948C46EBE}"/>
              </a:ext>
            </a:extLst>
          </p:cNvPr>
          <p:cNvCxnSpPr>
            <a:cxnSpLocks/>
          </p:cNvCxnSpPr>
          <p:nvPr/>
        </p:nvCxnSpPr>
        <p:spPr>
          <a:xfrm flipV="1">
            <a:off x="4383253" y="1381327"/>
            <a:ext cx="0" cy="3122527"/>
          </a:xfrm>
          <a:prstGeom prst="line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ovná spojnica 6">
            <a:extLst>
              <a:ext uri="{FF2B5EF4-FFF2-40B4-BE49-F238E27FC236}">
                <a16:creationId xmlns:a16="http://schemas.microsoft.com/office/drawing/2014/main" id="{36731F99-B232-DAFF-488D-6C822F3FC126}"/>
              </a:ext>
            </a:extLst>
          </p:cNvPr>
          <p:cNvCxnSpPr>
            <a:cxnSpLocks/>
          </p:cNvCxnSpPr>
          <p:nvPr/>
        </p:nvCxnSpPr>
        <p:spPr>
          <a:xfrm flipV="1">
            <a:off x="6323615" y="1378086"/>
            <a:ext cx="0" cy="3122527"/>
          </a:xfrm>
          <a:prstGeom prst="line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ovná spojnica 5">
            <a:extLst>
              <a:ext uri="{FF2B5EF4-FFF2-40B4-BE49-F238E27FC236}">
                <a16:creationId xmlns:a16="http://schemas.microsoft.com/office/drawing/2014/main" id="{CAFD2576-86F4-F34D-DF7F-DD3C6A04FA61}"/>
              </a:ext>
            </a:extLst>
          </p:cNvPr>
          <p:cNvCxnSpPr>
            <a:cxnSpLocks/>
          </p:cNvCxnSpPr>
          <p:nvPr/>
        </p:nvCxnSpPr>
        <p:spPr>
          <a:xfrm flipV="1">
            <a:off x="8271490" y="1378078"/>
            <a:ext cx="0" cy="3122527"/>
          </a:xfrm>
          <a:prstGeom prst="line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2845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Skupina 53">
            <a:extLst>
              <a:ext uri="{FF2B5EF4-FFF2-40B4-BE49-F238E27FC236}">
                <a16:creationId xmlns:a16="http://schemas.microsoft.com/office/drawing/2014/main" id="{00EDABE6-21E8-4AFC-AC0D-4C72ECCD00C0}"/>
              </a:ext>
            </a:extLst>
          </p:cNvPr>
          <p:cNvGrpSpPr/>
          <p:nvPr/>
        </p:nvGrpSpPr>
        <p:grpSpPr>
          <a:xfrm>
            <a:off x="5225062" y="1312658"/>
            <a:ext cx="1886482" cy="1438399"/>
            <a:chOff x="241300" y="762996"/>
            <a:chExt cx="1886482" cy="1438399"/>
          </a:xfrm>
        </p:grpSpPr>
        <p:graphicFrame>
          <p:nvGraphicFramePr>
            <p:cNvPr id="55" name="Graf 54">
              <a:extLst>
                <a:ext uri="{FF2B5EF4-FFF2-40B4-BE49-F238E27FC236}">
                  <a16:creationId xmlns:a16="http://schemas.microsoft.com/office/drawing/2014/main" id="{DE87F99D-1C27-414F-A7F2-9A7F605D559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83645357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6" name="Graf 55">
              <a:extLst>
                <a:ext uri="{FF2B5EF4-FFF2-40B4-BE49-F238E27FC236}">
                  <a16:creationId xmlns:a16="http://schemas.microsoft.com/office/drawing/2014/main" id="{0996577C-35A7-4991-A966-CF0BDF12B5C1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67842912"/>
                </p:ext>
              </p:extLst>
            </p:nvPr>
          </p:nvGraphicFramePr>
          <p:xfrm>
            <a:off x="517966" y="960387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73" name="Skupina 72">
            <a:extLst>
              <a:ext uri="{FF2B5EF4-FFF2-40B4-BE49-F238E27FC236}">
                <a16:creationId xmlns:a16="http://schemas.microsoft.com/office/drawing/2014/main" id="{60CF6D0E-DC89-46E6-838C-942851E870DB}"/>
              </a:ext>
            </a:extLst>
          </p:cNvPr>
          <p:cNvGrpSpPr/>
          <p:nvPr/>
        </p:nvGrpSpPr>
        <p:grpSpPr>
          <a:xfrm>
            <a:off x="215214" y="3313683"/>
            <a:ext cx="1886482" cy="1438399"/>
            <a:chOff x="241300" y="762996"/>
            <a:chExt cx="1886482" cy="1438399"/>
          </a:xfrm>
        </p:grpSpPr>
        <p:graphicFrame>
          <p:nvGraphicFramePr>
            <p:cNvPr id="74" name="Graf 73">
              <a:extLst>
                <a:ext uri="{FF2B5EF4-FFF2-40B4-BE49-F238E27FC236}">
                  <a16:creationId xmlns:a16="http://schemas.microsoft.com/office/drawing/2014/main" id="{A0C2903C-A5FF-4BFE-A2C1-6560C1E69A9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15712291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75" name="Graf 74">
              <a:extLst>
                <a:ext uri="{FF2B5EF4-FFF2-40B4-BE49-F238E27FC236}">
                  <a16:creationId xmlns:a16="http://schemas.microsoft.com/office/drawing/2014/main" id="{55929823-78A2-4F46-A843-A80D78D7291B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87604517"/>
                </p:ext>
              </p:extLst>
            </p:nvPr>
          </p:nvGraphicFramePr>
          <p:xfrm>
            <a:off x="513758" y="972863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grpSp>
        <p:nvGrpSpPr>
          <p:cNvPr id="76" name="Skupina 75">
            <a:extLst>
              <a:ext uri="{FF2B5EF4-FFF2-40B4-BE49-F238E27FC236}">
                <a16:creationId xmlns:a16="http://schemas.microsoft.com/office/drawing/2014/main" id="{F7B2CC41-6A1B-432F-863F-FD8766569E8F}"/>
              </a:ext>
            </a:extLst>
          </p:cNvPr>
          <p:cNvGrpSpPr/>
          <p:nvPr/>
        </p:nvGrpSpPr>
        <p:grpSpPr>
          <a:xfrm>
            <a:off x="5226198" y="3311804"/>
            <a:ext cx="1886482" cy="1438399"/>
            <a:chOff x="241300" y="762996"/>
            <a:chExt cx="1886482" cy="1438399"/>
          </a:xfrm>
        </p:grpSpPr>
        <p:graphicFrame>
          <p:nvGraphicFramePr>
            <p:cNvPr id="77" name="Graf 76">
              <a:extLst>
                <a:ext uri="{FF2B5EF4-FFF2-40B4-BE49-F238E27FC236}">
                  <a16:creationId xmlns:a16="http://schemas.microsoft.com/office/drawing/2014/main" id="{7567A7C3-74CB-4A15-908D-E0B1576B80C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9314572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78" name="Graf 77">
              <a:extLst>
                <a:ext uri="{FF2B5EF4-FFF2-40B4-BE49-F238E27FC236}">
                  <a16:creationId xmlns:a16="http://schemas.microsoft.com/office/drawing/2014/main" id="{7E7E0D30-F197-4242-BA94-02EC814766DF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07278998"/>
                </p:ext>
              </p:extLst>
            </p:nvPr>
          </p:nvGraphicFramePr>
          <p:xfrm>
            <a:off x="519314" y="968203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pic>
        <p:nvPicPr>
          <p:cNvPr id="35" name="Obrázok 34">
            <a:extLst>
              <a:ext uri="{FF2B5EF4-FFF2-40B4-BE49-F238E27FC236}">
                <a16:creationId xmlns:a16="http://schemas.microsoft.com/office/drawing/2014/main" id="{D105F231-CB5A-45CA-ABD1-3714D049EB9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4676" b="17315"/>
          <a:stretch/>
        </p:blipFill>
        <p:spPr>
          <a:xfrm>
            <a:off x="821768" y="916749"/>
            <a:ext cx="653875" cy="444691"/>
          </a:xfrm>
          <a:prstGeom prst="rect">
            <a:avLst/>
          </a:prstGeom>
        </p:spPr>
      </p:pic>
      <p:sp>
        <p:nvSpPr>
          <p:cNvPr id="23" name="Nadpis 3">
            <a:extLst>
              <a:ext uri="{FF2B5EF4-FFF2-40B4-BE49-F238E27FC236}">
                <a16:creationId xmlns:a16="http://schemas.microsoft.com/office/drawing/2014/main" id="{7056914A-A138-4CE7-97E8-9C10F8313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dľa jednotlivých reťazcov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97C25674-1C7F-4636-9D61-76F93DAB2F65}"/>
              </a:ext>
            </a:extLst>
          </p:cNvPr>
          <p:cNvGrpSpPr/>
          <p:nvPr/>
        </p:nvGrpSpPr>
        <p:grpSpPr>
          <a:xfrm>
            <a:off x="177120" y="1308433"/>
            <a:ext cx="1886482" cy="1438399"/>
            <a:chOff x="241300" y="762996"/>
            <a:chExt cx="1886482" cy="1438399"/>
          </a:xfrm>
        </p:grpSpPr>
        <p:graphicFrame>
          <p:nvGraphicFramePr>
            <p:cNvPr id="38" name="Graf 37">
              <a:extLst>
                <a:ext uri="{FF2B5EF4-FFF2-40B4-BE49-F238E27FC236}">
                  <a16:creationId xmlns:a16="http://schemas.microsoft.com/office/drawing/2014/main" id="{A6CF3F2C-9E20-4AEC-9663-7086B37038B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90548334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39" name="Graf 38">
              <a:extLst>
                <a:ext uri="{FF2B5EF4-FFF2-40B4-BE49-F238E27FC236}">
                  <a16:creationId xmlns:a16="http://schemas.microsoft.com/office/drawing/2014/main" id="{04A61C8C-1328-46B4-AB52-146FECB106C4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425522698"/>
                </p:ext>
              </p:extLst>
            </p:nvPr>
          </p:nvGraphicFramePr>
          <p:xfrm>
            <a:off x="387215" y="952906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</p:grpSp>
      <p:grpSp>
        <p:nvGrpSpPr>
          <p:cNvPr id="41" name="Skupina 40">
            <a:extLst>
              <a:ext uri="{FF2B5EF4-FFF2-40B4-BE49-F238E27FC236}">
                <a16:creationId xmlns:a16="http://schemas.microsoft.com/office/drawing/2014/main" id="{F7E42272-20F7-4104-B77F-238847625ED6}"/>
              </a:ext>
            </a:extLst>
          </p:cNvPr>
          <p:cNvGrpSpPr/>
          <p:nvPr/>
        </p:nvGrpSpPr>
        <p:grpSpPr>
          <a:xfrm>
            <a:off x="1859803" y="1310792"/>
            <a:ext cx="1886482" cy="1438399"/>
            <a:chOff x="241300" y="762996"/>
            <a:chExt cx="1886482" cy="1438399"/>
          </a:xfrm>
        </p:grpSpPr>
        <p:graphicFrame>
          <p:nvGraphicFramePr>
            <p:cNvPr id="42" name="Graf 41">
              <a:extLst>
                <a:ext uri="{FF2B5EF4-FFF2-40B4-BE49-F238E27FC236}">
                  <a16:creationId xmlns:a16="http://schemas.microsoft.com/office/drawing/2014/main" id="{C3D95D31-9478-4AF1-B3CC-E7547AAF111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1486341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graphicFrame>
          <p:nvGraphicFramePr>
            <p:cNvPr id="43" name="Graf 42">
              <a:extLst>
                <a:ext uri="{FF2B5EF4-FFF2-40B4-BE49-F238E27FC236}">
                  <a16:creationId xmlns:a16="http://schemas.microsoft.com/office/drawing/2014/main" id="{829590C4-0F54-44E3-BF5C-B35D02CDF484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17272944"/>
                </p:ext>
              </p:extLst>
            </p:nvPr>
          </p:nvGraphicFramePr>
          <p:xfrm>
            <a:off x="516739" y="966707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</p:grp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02FAA84E-1C26-4D2A-A808-41ED181CEB56}"/>
              </a:ext>
            </a:extLst>
          </p:cNvPr>
          <p:cNvGrpSpPr/>
          <p:nvPr/>
        </p:nvGrpSpPr>
        <p:grpSpPr>
          <a:xfrm>
            <a:off x="3541179" y="1309904"/>
            <a:ext cx="1886482" cy="1438399"/>
            <a:chOff x="241300" y="762996"/>
            <a:chExt cx="1886482" cy="1438399"/>
          </a:xfrm>
        </p:grpSpPr>
        <p:graphicFrame>
          <p:nvGraphicFramePr>
            <p:cNvPr id="45" name="Graf 44">
              <a:extLst>
                <a:ext uri="{FF2B5EF4-FFF2-40B4-BE49-F238E27FC236}">
                  <a16:creationId xmlns:a16="http://schemas.microsoft.com/office/drawing/2014/main" id="{D3CD3FC7-CE1C-4A4A-8AE9-A3A17435007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00073010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graphicFrame>
          <p:nvGraphicFramePr>
            <p:cNvPr id="46" name="Graf 45">
              <a:extLst>
                <a:ext uri="{FF2B5EF4-FFF2-40B4-BE49-F238E27FC236}">
                  <a16:creationId xmlns:a16="http://schemas.microsoft.com/office/drawing/2014/main" id="{AFFC41AE-ABC9-4AB8-B722-AF0558993A1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5805758"/>
                </p:ext>
              </p:extLst>
            </p:nvPr>
          </p:nvGraphicFramePr>
          <p:xfrm>
            <a:off x="514284" y="973294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</p:grp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D4746D4A-207B-4C42-AA84-7B9DC0986F3D}"/>
              </a:ext>
            </a:extLst>
          </p:cNvPr>
          <p:cNvGrpSpPr/>
          <p:nvPr/>
        </p:nvGrpSpPr>
        <p:grpSpPr>
          <a:xfrm>
            <a:off x="6927352" y="1310921"/>
            <a:ext cx="1886482" cy="1438399"/>
            <a:chOff x="241300" y="762996"/>
            <a:chExt cx="1886482" cy="1438399"/>
          </a:xfrm>
        </p:grpSpPr>
        <p:graphicFrame>
          <p:nvGraphicFramePr>
            <p:cNvPr id="52" name="Graf 51">
              <a:extLst>
                <a:ext uri="{FF2B5EF4-FFF2-40B4-BE49-F238E27FC236}">
                  <a16:creationId xmlns:a16="http://schemas.microsoft.com/office/drawing/2014/main" id="{28BF7323-DF35-4233-9FF4-F9D0CD7BE31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81555097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graphicFrame>
          <p:nvGraphicFramePr>
            <p:cNvPr id="53" name="Graf 52">
              <a:extLst>
                <a:ext uri="{FF2B5EF4-FFF2-40B4-BE49-F238E27FC236}">
                  <a16:creationId xmlns:a16="http://schemas.microsoft.com/office/drawing/2014/main" id="{4C9ED96E-893D-4FD6-8FA5-3BA05F87031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97986167"/>
                </p:ext>
              </p:extLst>
            </p:nvPr>
          </p:nvGraphicFramePr>
          <p:xfrm>
            <a:off x="708431" y="946007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</p:grpSp>
      <p:pic>
        <p:nvPicPr>
          <p:cNvPr id="64" name="Picture 10" descr="CBA Slovakia">
            <a:extLst>
              <a:ext uri="{FF2B5EF4-FFF2-40B4-BE49-F238E27FC236}">
                <a16:creationId xmlns:a16="http://schemas.microsoft.com/office/drawing/2014/main" id="{8256FB8E-E91B-4702-B20E-1ACB9BCEC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978" y="985692"/>
            <a:ext cx="400747" cy="323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0" descr="terno-logo | Kawar">
            <a:extLst>
              <a:ext uri="{FF2B5EF4-FFF2-40B4-BE49-F238E27FC236}">
                <a16:creationId xmlns:a16="http://schemas.microsoft.com/office/drawing/2014/main" id="{9EA8C164-75B1-4E48-95A9-6A7E65A9A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645" y="901510"/>
            <a:ext cx="689528" cy="18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2" descr="Kontakt">
            <a:extLst>
              <a:ext uri="{FF2B5EF4-FFF2-40B4-BE49-F238E27FC236}">
                <a16:creationId xmlns:a16="http://schemas.microsoft.com/office/drawing/2014/main" id="{63E38E3D-B6C2-4311-8116-CB09B0198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824" y="1112422"/>
            <a:ext cx="487200" cy="206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4" descr="KREMIX plus, s.r.o. Banská Bystrica - klimatizácie, tepelné čerpadlá,  revízie">
            <a:extLst>
              <a:ext uri="{FF2B5EF4-FFF2-40B4-BE49-F238E27FC236}">
                <a16:creationId xmlns:a16="http://schemas.microsoft.com/office/drawing/2014/main" id="{46A04183-6ACF-4972-8381-460BB7161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247" y="1119705"/>
            <a:ext cx="860373" cy="19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Obrázok 78">
            <a:extLst>
              <a:ext uri="{FF2B5EF4-FFF2-40B4-BE49-F238E27FC236}">
                <a16:creationId xmlns:a16="http://schemas.microsoft.com/office/drawing/2014/main" id="{63DB330E-9AC2-4B02-9A76-1312D0C37B0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573186" y="1035006"/>
            <a:ext cx="673480" cy="280617"/>
          </a:xfrm>
          <a:prstGeom prst="rect">
            <a:avLst/>
          </a:prstGeom>
        </p:spPr>
      </p:pic>
      <p:pic>
        <p:nvPicPr>
          <p:cNvPr id="81" name="Obrázok 80">
            <a:extLst>
              <a:ext uri="{FF2B5EF4-FFF2-40B4-BE49-F238E27FC236}">
                <a16:creationId xmlns:a16="http://schemas.microsoft.com/office/drawing/2014/main" id="{68694B0A-79C4-42BE-9463-B5AE081B551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580910" y="3067739"/>
            <a:ext cx="561676" cy="230287"/>
          </a:xfrm>
          <a:prstGeom prst="rect">
            <a:avLst/>
          </a:prstGeom>
        </p:spPr>
      </p:pic>
      <p:pic>
        <p:nvPicPr>
          <p:cNvPr id="82" name="Obrázok 81">
            <a:extLst>
              <a:ext uri="{FF2B5EF4-FFF2-40B4-BE49-F238E27FC236}">
                <a16:creationId xmlns:a16="http://schemas.microsoft.com/office/drawing/2014/main" id="{FE1420DB-8EC4-47C7-B206-5B695D489D60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031388" y="2982431"/>
            <a:ext cx="342933" cy="342933"/>
          </a:xfrm>
          <a:prstGeom prst="rect">
            <a:avLst/>
          </a:prstGeom>
        </p:spPr>
      </p:pic>
      <p:grpSp>
        <p:nvGrpSpPr>
          <p:cNvPr id="5" name="Skupina 4">
            <a:extLst>
              <a:ext uri="{FF2B5EF4-FFF2-40B4-BE49-F238E27FC236}">
                <a16:creationId xmlns:a16="http://schemas.microsoft.com/office/drawing/2014/main" id="{39559219-7613-4378-A53B-7CBFD446ACFC}"/>
              </a:ext>
            </a:extLst>
          </p:cNvPr>
          <p:cNvGrpSpPr/>
          <p:nvPr/>
        </p:nvGrpSpPr>
        <p:grpSpPr>
          <a:xfrm>
            <a:off x="7330623" y="3617286"/>
            <a:ext cx="1350420" cy="803830"/>
            <a:chOff x="7636669" y="2561616"/>
            <a:chExt cx="1350420" cy="803830"/>
          </a:xfrm>
        </p:grpSpPr>
        <p:sp>
          <p:nvSpPr>
            <p:cNvPr id="58" name="BlokTextu 57">
              <a:extLst>
                <a:ext uri="{FF2B5EF4-FFF2-40B4-BE49-F238E27FC236}">
                  <a16:creationId xmlns:a16="http://schemas.microsoft.com/office/drawing/2014/main" id="{4F1DA1CF-D2AA-4404-8445-B26F8B384AF3}"/>
                </a:ext>
              </a:extLst>
            </p:cNvPr>
            <p:cNvSpPr txBox="1"/>
            <p:nvPr/>
          </p:nvSpPr>
          <p:spPr bwMode="gray">
            <a:xfrm>
              <a:off x="7843526" y="2561616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Slovenské výrobky</a:t>
              </a:r>
            </a:p>
          </p:txBody>
        </p:sp>
        <p:sp>
          <p:nvSpPr>
            <p:cNvPr id="59" name="BlokTextu 58">
              <a:extLst>
                <a:ext uri="{FF2B5EF4-FFF2-40B4-BE49-F238E27FC236}">
                  <a16:creationId xmlns:a16="http://schemas.microsoft.com/office/drawing/2014/main" id="{5434DEFE-7CD9-4C3C-ADA2-A7196327ABB6}"/>
                </a:ext>
              </a:extLst>
            </p:cNvPr>
            <p:cNvSpPr txBox="1"/>
            <p:nvPr/>
          </p:nvSpPr>
          <p:spPr bwMode="gray">
            <a:xfrm>
              <a:off x="7843526" y="3211558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Zahraničné výrobky</a:t>
              </a:r>
            </a:p>
          </p:txBody>
        </p:sp>
        <p:sp>
          <p:nvSpPr>
            <p:cNvPr id="60" name="Ovál 59">
              <a:extLst>
                <a:ext uri="{FF2B5EF4-FFF2-40B4-BE49-F238E27FC236}">
                  <a16:creationId xmlns:a16="http://schemas.microsoft.com/office/drawing/2014/main" id="{33C0C6F7-39C1-41E4-B51A-9A5E2B8C6D28}"/>
                </a:ext>
              </a:extLst>
            </p:cNvPr>
            <p:cNvSpPr/>
            <p:nvPr/>
          </p:nvSpPr>
          <p:spPr bwMode="gray">
            <a:xfrm>
              <a:off x="7636669" y="2566560"/>
              <a:ext cx="144000" cy="144000"/>
            </a:xfrm>
            <a:prstGeom prst="ellipse">
              <a:avLst/>
            </a:prstGeom>
            <a:solidFill>
              <a:srgbClr val="FA722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ál 60">
              <a:extLst>
                <a:ext uri="{FF2B5EF4-FFF2-40B4-BE49-F238E27FC236}">
                  <a16:creationId xmlns:a16="http://schemas.microsoft.com/office/drawing/2014/main" id="{ADDAFD9D-7EA6-4972-A8C1-9D12E29CBA31}"/>
                </a:ext>
              </a:extLst>
            </p:cNvPr>
            <p:cNvSpPr/>
            <p:nvPr/>
          </p:nvSpPr>
          <p:spPr bwMode="gray">
            <a:xfrm>
              <a:off x="7636669" y="3216502"/>
              <a:ext cx="144000" cy="144000"/>
            </a:xfrm>
            <a:prstGeom prst="ellipse">
              <a:avLst/>
            </a:prstGeom>
            <a:solidFill>
              <a:srgbClr val="BFB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Ovál 82">
              <a:extLst>
                <a:ext uri="{FF2B5EF4-FFF2-40B4-BE49-F238E27FC236}">
                  <a16:creationId xmlns:a16="http://schemas.microsoft.com/office/drawing/2014/main" id="{30890F93-1EAC-4363-8F38-CF936FFF1E9A}"/>
                </a:ext>
              </a:extLst>
            </p:cNvPr>
            <p:cNvSpPr/>
            <p:nvPr/>
          </p:nvSpPr>
          <p:spPr bwMode="gray">
            <a:xfrm>
              <a:off x="7639004" y="2850382"/>
              <a:ext cx="144000" cy="14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BlokTextu 83">
              <a:extLst>
                <a:ext uri="{FF2B5EF4-FFF2-40B4-BE49-F238E27FC236}">
                  <a16:creationId xmlns:a16="http://schemas.microsoft.com/office/drawing/2014/main" id="{364C4A9F-3071-4DB6-8F62-2FCCE9974FDB}"/>
                </a:ext>
              </a:extLst>
            </p:cNvPr>
            <p:cNvSpPr txBox="1"/>
            <p:nvPr/>
          </p:nvSpPr>
          <p:spPr bwMode="gray">
            <a:xfrm>
              <a:off x="7841336" y="2824803"/>
              <a:ext cx="114356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Slovenské výrobky celý trh 2026</a:t>
              </a:r>
            </a:p>
          </p:txBody>
        </p:sp>
      </p:grpSp>
      <p:grpSp>
        <p:nvGrpSpPr>
          <p:cNvPr id="66" name="Skupina 65">
            <a:extLst>
              <a:ext uri="{FF2B5EF4-FFF2-40B4-BE49-F238E27FC236}">
                <a16:creationId xmlns:a16="http://schemas.microsoft.com/office/drawing/2014/main" id="{BBA9249A-01CD-4077-B734-83B614173DF2}"/>
              </a:ext>
            </a:extLst>
          </p:cNvPr>
          <p:cNvGrpSpPr/>
          <p:nvPr/>
        </p:nvGrpSpPr>
        <p:grpSpPr>
          <a:xfrm>
            <a:off x="2219819" y="1062235"/>
            <a:ext cx="1341617" cy="201035"/>
            <a:chOff x="2395435" y="3094230"/>
            <a:chExt cx="1341617" cy="201035"/>
          </a:xfrm>
        </p:grpSpPr>
        <p:pic>
          <p:nvPicPr>
            <p:cNvPr id="80" name="Picture 8" descr="Supermarket Fresh | Eperia - Shopping mall">
              <a:extLst>
                <a:ext uri="{FF2B5EF4-FFF2-40B4-BE49-F238E27FC236}">
                  <a16:creationId xmlns:a16="http://schemas.microsoft.com/office/drawing/2014/main" id="{03FAF74E-8D7B-4590-A011-BE2EA3BC3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78" y="3094230"/>
              <a:ext cx="727474" cy="201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5" name="Picture 2" descr="FRESH – Wikipédia">
              <a:extLst>
                <a:ext uri="{FF2B5EF4-FFF2-40B4-BE49-F238E27FC236}">
                  <a16:creationId xmlns:a16="http://schemas.microsoft.com/office/drawing/2014/main" id="{39A89A2A-954C-4220-B9F4-AA55472358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5435" y="3096109"/>
              <a:ext cx="541286" cy="197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Skupina 1">
            <a:extLst>
              <a:ext uri="{FF2B5EF4-FFF2-40B4-BE49-F238E27FC236}">
                <a16:creationId xmlns:a16="http://schemas.microsoft.com/office/drawing/2014/main" id="{125A5E92-DE0C-50CE-AEE8-B18A7108C14E}"/>
              </a:ext>
            </a:extLst>
          </p:cNvPr>
          <p:cNvGrpSpPr/>
          <p:nvPr/>
        </p:nvGrpSpPr>
        <p:grpSpPr>
          <a:xfrm>
            <a:off x="1858648" y="3312707"/>
            <a:ext cx="1886482" cy="1438399"/>
            <a:chOff x="241300" y="762996"/>
            <a:chExt cx="1886482" cy="1438399"/>
          </a:xfrm>
        </p:grpSpPr>
        <p:graphicFrame>
          <p:nvGraphicFramePr>
            <p:cNvPr id="3" name="Graf 2">
              <a:extLst>
                <a:ext uri="{FF2B5EF4-FFF2-40B4-BE49-F238E27FC236}">
                  <a16:creationId xmlns:a16="http://schemas.microsoft.com/office/drawing/2014/main" id="{C6B1F196-2E8A-5CB7-20B6-7AAD36B6108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05484327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graphicFrame>
          <p:nvGraphicFramePr>
            <p:cNvPr id="4" name="Graf 3">
              <a:extLst>
                <a:ext uri="{FF2B5EF4-FFF2-40B4-BE49-F238E27FC236}">
                  <a16:creationId xmlns:a16="http://schemas.microsoft.com/office/drawing/2014/main" id="{FB8D3B1A-276B-2B60-CC79-9E36B6466F92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14862018"/>
                </p:ext>
              </p:extLst>
            </p:nvPr>
          </p:nvGraphicFramePr>
          <p:xfrm>
            <a:off x="517966" y="960387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8"/>
            </a:graphicData>
          </a:graphic>
        </p:graphicFrame>
      </p:grpSp>
      <p:sp>
        <p:nvSpPr>
          <p:cNvPr id="6" name="Zástupný symbol textu 10">
            <a:extLst>
              <a:ext uri="{FF2B5EF4-FFF2-40B4-BE49-F238E27FC236}">
                <a16:creationId xmlns:a16="http://schemas.microsoft.com/office/drawing/2014/main" id="{6172DFCF-F4D1-90CF-C5EB-536E2AEA4D27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028CEEB3-9BA3-FB08-F6D6-27E97C65A2F0}"/>
              </a:ext>
            </a:extLst>
          </p:cNvPr>
          <p:cNvGrpSpPr/>
          <p:nvPr/>
        </p:nvGrpSpPr>
        <p:grpSpPr>
          <a:xfrm>
            <a:off x="3580859" y="3316469"/>
            <a:ext cx="1886482" cy="1438399"/>
            <a:chOff x="241300" y="762996"/>
            <a:chExt cx="1886482" cy="1438399"/>
          </a:xfrm>
        </p:grpSpPr>
        <p:graphicFrame>
          <p:nvGraphicFramePr>
            <p:cNvPr id="8" name="Graf 7">
              <a:extLst>
                <a:ext uri="{FF2B5EF4-FFF2-40B4-BE49-F238E27FC236}">
                  <a16:creationId xmlns:a16="http://schemas.microsoft.com/office/drawing/2014/main" id="{914260C7-0850-FD8C-6521-76BE663A6EC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57493633"/>
                </p:ext>
              </p:extLst>
            </p:nvPr>
          </p:nvGraphicFramePr>
          <p:xfrm>
            <a:off x="241300" y="762996"/>
            <a:ext cx="1886482" cy="1438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9"/>
            </a:graphicData>
          </a:graphic>
        </p:graphicFrame>
        <p:graphicFrame>
          <p:nvGraphicFramePr>
            <p:cNvPr id="9" name="Graf 8">
              <a:extLst>
                <a:ext uri="{FF2B5EF4-FFF2-40B4-BE49-F238E27FC236}">
                  <a16:creationId xmlns:a16="http://schemas.microsoft.com/office/drawing/2014/main" id="{33920124-8A46-5653-2456-F4691DCF5097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074095798"/>
                </p:ext>
              </p:extLst>
            </p:nvPr>
          </p:nvGraphicFramePr>
          <p:xfrm>
            <a:off x="708431" y="946007"/>
            <a:ext cx="1380331" cy="105247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0"/>
            </a:graphicData>
          </a:graphic>
        </p:graphicFrame>
      </p:grpSp>
      <p:pic>
        <p:nvPicPr>
          <p:cNvPr id="10" name="Picture 4" descr="VÃ½sledok vyhÄ¾adÃ¡vania obrÃ¡zkov pre dopyt kaufland logo">
            <a:extLst>
              <a:ext uri="{FF2B5EF4-FFF2-40B4-BE49-F238E27FC236}">
                <a16:creationId xmlns:a16="http://schemas.microsoft.com/office/drawing/2014/main" id="{143E177B-BBBC-B0A5-DF87-5025E14D08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8" r="22399"/>
          <a:stretch/>
        </p:blipFill>
        <p:spPr bwMode="auto">
          <a:xfrm>
            <a:off x="989530" y="2933906"/>
            <a:ext cx="427955" cy="40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D2018E88-ABCA-C9E7-3018-4CF358BE8398}"/>
              </a:ext>
            </a:extLst>
          </p:cNvPr>
          <p:cNvPicPr>
            <a:picLocks noChangeAspect="1"/>
          </p:cNvPicPr>
          <p:nvPr/>
        </p:nvPicPr>
        <p:blipFill>
          <a:blip r:embed="rId32"/>
          <a:srcRect l="51169" t="3298" r="224" b="8155"/>
          <a:stretch/>
        </p:blipFill>
        <p:spPr>
          <a:xfrm>
            <a:off x="4147718" y="2963987"/>
            <a:ext cx="867678" cy="373958"/>
          </a:xfrm>
          <a:prstGeom prst="rect">
            <a:avLst/>
          </a:prstGeom>
        </p:spPr>
      </p:pic>
      <p:sp>
        <p:nvSpPr>
          <p:cNvPr id="14" name="Obdĺžnik: zaoblené rohy 13">
            <a:extLst>
              <a:ext uri="{FF2B5EF4-FFF2-40B4-BE49-F238E27FC236}">
                <a16:creationId xmlns:a16="http://schemas.microsoft.com/office/drawing/2014/main" id="{7D0E19D2-F586-50D9-A470-6CDCE56AE5CE}"/>
              </a:ext>
            </a:extLst>
          </p:cNvPr>
          <p:cNvSpPr/>
          <p:nvPr/>
        </p:nvSpPr>
        <p:spPr bwMode="gray">
          <a:xfrm>
            <a:off x="1362681" y="1262760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-1,0 </a:t>
            </a:r>
          </a:p>
        </p:txBody>
      </p:sp>
      <p:sp>
        <p:nvSpPr>
          <p:cNvPr id="15" name="Obdĺžnik: zaoblené rohy 14">
            <a:extLst>
              <a:ext uri="{FF2B5EF4-FFF2-40B4-BE49-F238E27FC236}">
                <a16:creationId xmlns:a16="http://schemas.microsoft.com/office/drawing/2014/main" id="{B79FF8BC-5703-3ED9-F246-31B312B1AA1F}"/>
              </a:ext>
            </a:extLst>
          </p:cNvPr>
          <p:cNvSpPr/>
          <p:nvPr/>
        </p:nvSpPr>
        <p:spPr bwMode="gray">
          <a:xfrm>
            <a:off x="3089590" y="1260327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+0,5 </a:t>
            </a:r>
          </a:p>
        </p:txBody>
      </p:sp>
      <p:sp>
        <p:nvSpPr>
          <p:cNvPr id="16" name="Obdĺžnik: zaoblené rohy 15">
            <a:extLst>
              <a:ext uri="{FF2B5EF4-FFF2-40B4-BE49-F238E27FC236}">
                <a16:creationId xmlns:a16="http://schemas.microsoft.com/office/drawing/2014/main" id="{5C74B77B-956E-70D4-311D-5CC65EF60D75}"/>
              </a:ext>
            </a:extLst>
          </p:cNvPr>
          <p:cNvSpPr/>
          <p:nvPr/>
        </p:nvSpPr>
        <p:spPr bwMode="gray">
          <a:xfrm>
            <a:off x="4785486" y="1259026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-2,3 </a:t>
            </a:r>
          </a:p>
        </p:txBody>
      </p:sp>
      <p:sp>
        <p:nvSpPr>
          <p:cNvPr id="17" name="Obdĺžnik: zaoblené rohy 16">
            <a:extLst>
              <a:ext uri="{FF2B5EF4-FFF2-40B4-BE49-F238E27FC236}">
                <a16:creationId xmlns:a16="http://schemas.microsoft.com/office/drawing/2014/main" id="{5EFAF702-ED5A-E4F3-6CD4-A280AC14943E}"/>
              </a:ext>
            </a:extLst>
          </p:cNvPr>
          <p:cNvSpPr/>
          <p:nvPr/>
        </p:nvSpPr>
        <p:spPr bwMode="gray">
          <a:xfrm>
            <a:off x="6519733" y="1284718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 b="1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+0,8 </a:t>
            </a:r>
          </a:p>
        </p:txBody>
      </p:sp>
      <p:sp>
        <p:nvSpPr>
          <p:cNvPr id="19" name="Obdĺžnik: zaoblené rohy 18">
            <a:extLst>
              <a:ext uri="{FF2B5EF4-FFF2-40B4-BE49-F238E27FC236}">
                <a16:creationId xmlns:a16="http://schemas.microsoft.com/office/drawing/2014/main" id="{7B5B102D-B59B-71EA-CF4D-DFE2BCCC02CF}"/>
              </a:ext>
            </a:extLst>
          </p:cNvPr>
          <p:cNvSpPr/>
          <p:nvPr/>
        </p:nvSpPr>
        <p:spPr bwMode="gray">
          <a:xfrm>
            <a:off x="8129352" y="1286065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-0,6 </a:t>
            </a:r>
          </a:p>
        </p:txBody>
      </p:sp>
      <p:sp>
        <p:nvSpPr>
          <p:cNvPr id="20" name="Obdĺžnik: zaoblené rohy 19">
            <a:extLst>
              <a:ext uri="{FF2B5EF4-FFF2-40B4-BE49-F238E27FC236}">
                <a16:creationId xmlns:a16="http://schemas.microsoft.com/office/drawing/2014/main" id="{43EF7DA8-090E-DEC2-3BB2-D70072933F69}"/>
              </a:ext>
            </a:extLst>
          </p:cNvPr>
          <p:cNvSpPr/>
          <p:nvPr/>
        </p:nvSpPr>
        <p:spPr bwMode="gray">
          <a:xfrm>
            <a:off x="3105279" y="3282666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-1,3 </a:t>
            </a:r>
          </a:p>
        </p:txBody>
      </p:sp>
      <p:sp>
        <p:nvSpPr>
          <p:cNvPr id="21" name="Obdĺžnik: zaoblené rohy 20">
            <a:extLst>
              <a:ext uri="{FF2B5EF4-FFF2-40B4-BE49-F238E27FC236}">
                <a16:creationId xmlns:a16="http://schemas.microsoft.com/office/drawing/2014/main" id="{7202DE5B-4368-3D8A-3E6A-0B45AFE91A46}"/>
              </a:ext>
            </a:extLst>
          </p:cNvPr>
          <p:cNvSpPr/>
          <p:nvPr/>
        </p:nvSpPr>
        <p:spPr bwMode="gray">
          <a:xfrm>
            <a:off x="1474332" y="3281365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+0,3 </a:t>
            </a:r>
          </a:p>
        </p:txBody>
      </p:sp>
      <p:sp>
        <p:nvSpPr>
          <p:cNvPr id="22" name="Obdĺžnik: zaoblené rohy 21">
            <a:extLst>
              <a:ext uri="{FF2B5EF4-FFF2-40B4-BE49-F238E27FC236}">
                <a16:creationId xmlns:a16="http://schemas.microsoft.com/office/drawing/2014/main" id="{C03B53AF-0AD7-B0AB-0B7E-BFEC7D761094}"/>
              </a:ext>
            </a:extLst>
          </p:cNvPr>
          <p:cNvSpPr/>
          <p:nvPr/>
        </p:nvSpPr>
        <p:spPr bwMode="gray">
          <a:xfrm>
            <a:off x="6535422" y="3307057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sk-SK" sz="800" b="1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+1,6 </a:t>
            </a:r>
          </a:p>
        </p:txBody>
      </p:sp>
      <p:sp>
        <p:nvSpPr>
          <p:cNvPr id="24" name="BlokTextu 23">
            <a:extLst>
              <a:ext uri="{FF2B5EF4-FFF2-40B4-BE49-F238E27FC236}">
                <a16:creationId xmlns:a16="http://schemas.microsoft.com/office/drawing/2014/main" id="{793CCFCE-2D5C-13D3-4372-20986C10EFCA}"/>
              </a:ext>
            </a:extLst>
          </p:cNvPr>
          <p:cNvSpPr txBox="1"/>
          <p:nvPr/>
        </p:nvSpPr>
        <p:spPr bwMode="gray">
          <a:xfrm>
            <a:off x="5078585" y="4763657"/>
            <a:ext cx="3741888" cy="12311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*Porovnanie oproti predchádzajúcemu roku (vyjadrené v percentuálnych bodoch):</a:t>
            </a:r>
          </a:p>
        </p:txBody>
      </p:sp>
      <p:sp>
        <p:nvSpPr>
          <p:cNvPr id="12" name="Obdĺžnik: zaoblené rohy 11">
            <a:extLst>
              <a:ext uri="{FF2B5EF4-FFF2-40B4-BE49-F238E27FC236}">
                <a16:creationId xmlns:a16="http://schemas.microsoft.com/office/drawing/2014/main" id="{752C4240-0C42-3AB7-D3F2-6A918FEABFB8}"/>
              </a:ext>
            </a:extLst>
          </p:cNvPr>
          <p:cNvSpPr/>
          <p:nvPr/>
        </p:nvSpPr>
        <p:spPr bwMode="gray">
          <a:xfrm>
            <a:off x="4938701" y="3288003"/>
            <a:ext cx="527204" cy="231212"/>
          </a:xfrm>
          <a:prstGeom prst="roundRect">
            <a:avLst>
              <a:gd name="adj" fmla="val 1218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sk-SK" sz="8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-9,5</a:t>
            </a:r>
            <a:r>
              <a:rPr lang="sk-SK" sz="800" b="1">
                <a:solidFill>
                  <a:srgbClr val="50A145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9961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">
            <a:extLst>
              <a:ext uri="{FF2B5EF4-FFF2-40B4-BE49-F238E27FC236}">
                <a16:creationId xmlns:a16="http://schemas.microsoft.com/office/drawing/2014/main" id="{D7E8F2CC-61CA-4429-8F26-6F03E881F3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753059"/>
              </p:ext>
            </p:extLst>
          </p:nvPr>
        </p:nvGraphicFramePr>
        <p:xfrm>
          <a:off x="155175" y="1001782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28" name="Obrázok 27">
            <a:extLst>
              <a:ext uri="{FF2B5EF4-FFF2-40B4-BE49-F238E27FC236}">
                <a16:creationId xmlns:a16="http://schemas.microsoft.com/office/drawing/2014/main" id="{975D5E8D-9817-4797-996E-EC6013BA43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108" b="17315"/>
          <a:stretch/>
        </p:blipFill>
        <p:spPr>
          <a:xfrm>
            <a:off x="361646" y="1053516"/>
            <a:ext cx="554417" cy="315297"/>
          </a:xfrm>
          <a:prstGeom prst="rect">
            <a:avLst/>
          </a:prstGeom>
        </p:spPr>
      </p:pic>
      <p:graphicFrame>
        <p:nvGraphicFramePr>
          <p:cNvPr id="18" name="Object 2">
            <a:extLst>
              <a:ext uri="{FF2B5EF4-FFF2-40B4-BE49-F238E27FC236}">
                <a16:creationId xmlns:a16="http://schemas.microsoft.com/office/drawing/2014/main" id="{FEF0981D-51BB-4D8E-85BC-B52E6F5D52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965630"/>
              </p:ext>
            </p:extLst>
          </p:nvPr>
        </p:nvGraphicFramePr>
        <p:xfrm>
          <a:off x="3013401" y="1001782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Object 2">
            <a:extLst>
              <a:ext uri="{FF2B5EF4-FFF2-40B4-BE49-F238E27FC236}">
                <a16:creationId xmlns:a16="http://schemas.microsoft.com/office/drawing/2014/main" id="{4F00123B-EA14-434D-A85F-4AD1E16DEB8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8443663"/>
              </p:ext>
            </p:extLst>
          </p:nvPr>
        </p:nvGraphicFramePr>
        <p:xfrm>
          <a:off x="5878321" y="1001782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2" name="Picture 10" descr="CBA Slovakia">
            <a:extLst>
              <a:ext uri="{FF2B5EF4-FFF2-40B4-BE49-F238E27FC236}">
                <a16:creationId xmlns:a16="http://schemas.microsoft.com/office/drawing/2014/main" id="{16A5C3ED-ADDB-48B8-AC01-8863846CF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080" y="1053516"/>
            <a:ext cx="380382" cy="29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Nadpis 3">
            <a:extLst>
              <a:ext uri="{FF2B5EF4-FFF2-40B4-BE49-F238E27FC236}">
                <a16:creationId xmlns:a16="http://schemas.microsoft.com/office/drawing/2014/main" id="{567670AA-4C63-49EA-A20B-820B3D821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dľa jednotlivých reťazcov I Trend 2011 - 2026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35" name="Zástupný symbol textu 10">
            <a:extLst>
              <a:ext uri="{FF2B5EF4-FFF2-40B4-BE49-F238E27FC236}">
                <a16:creationId xmlns:a16="http://schemas.microsoft.com/office/drawing/2014/main" id="{6112D181-4F14-4F0A-8002-9A0AF9A0AA7C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pic>
        <p:nvPicPr>
          <p:cNvPr id="42" name="Picture 8" descr="Supermarket Fresh | Eperia - Shopping mall">
            <a:extLst>
              <a:ext uri="{FF2B5EF4-FFF2-40B4-BE49-F238E27FC236}">
                <a16:creationId xmlns:a16="http://schemas.microsoft.com/office/drawing/2014/main" id="{B0EEA6E3-233C-47D5-9DF4-AD1746CBB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023" y="1094375"/>
            <a:ext cx="727474" cy="201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FRESH – Wikipédia">
            <a:extLst>
              <a:ext uri="{FF2B5EF4-FFF2-40B4-BE49-F238E27FC236}">
                <a16:creationId xmlns:a16="http://schemas.microsoft.com/office/drawing/2014/main" id="{777BFF22-3371-475D-84BC-FB6B82F09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182" y="1094375"/>
            <a:ext cx="541286" cy="19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2">
            <a:extLst>
              <a:ext uri="{FF2B5EF4-FFF2-40B4-BE49-F238E27FC236}">
                <a16:creationId xmlns:a16="http://schemas.microsoft.com/office/drawing/2014/main" id="{0AFD7535-C4E8-5634-7740-AE44A1B9E48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97667240"/>
              </p:ext>
            </p:extLst>
          </p:nvPr>
        </p:nvGraphicFramePr>
        <p:xfrm>
          <a:off x="148046" y="2890213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72C5A2B2-9ECE-7ADA-C8F4-385C67F0F80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2698328"/>
              </p:ext>
            </p:extLst>
          </p:nvPr>
        </p:nvGraphicFramePr>
        <p:xfrm>
          <a:off x="3011122" y="2893010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pic>
        <p:nvPicPr>
          <p:cNvPr id="7" name="Obrázok 6">
            <a:extLst>
              <a:ext uri="{FF2B5EF4-FFF2-40B4-BE49-F238E27FC236}">
                <a16:creationId xmlns:a16="http://schemas.microsoft.com/office/drawing/2014/main" id="{154EFC07-193E-AB99-AC16-8D4A047F6B1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211624" y="2995897"/>
            <a:ext cx="618490" cy="245997"/>
          </a:xfrm>
          <a:prstGeom prst="rect">
            <a:avLst/>
          </a:prstGeom>
        </p:spPr>
      </p:pic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50DF5B91-037F-F787-E244-C7C55C063322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50169811"/>
              </p:ext>
            </p:extLst>
          </p:nvPr>
        </p:nvGraphicFramePr>
        <p:xfrm>
          <a:off x="5879725" y="2893415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pic>
        <p:nvPicPr>
          <p:cNvPr id="4" name="Picture 4" descr="VÃ½sledok vyhÄ¾adÃ¡vania obrÃ¡zkov pre dopyt kaufland logo">
            <a:extLst>
              <a:ext uri="{FF2B5EF4-FFF2-40B4-BE49-F238E27FC236}">
                <a16:creationId xmlns:a16="http://schemas.microsoft.com/office/drawing/2014/main" id="{2E6193E3-ECFA-5392-1241-6F4410B611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8" r="22399"/>
          <a:stretch/>
        </p:blipFill>
        <p:spPr bwMode="auto">
          <a:xfrm>
            <a:off x="6074700" y="2925317"/>
            <a:ext cx="424877" cy="38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Skupina 1">
            <a:extLst>
              <a:ext uri="{FF2B5EF4-FFF2-40B4-BE49-F238E27FC236}">
                <a16:creationId xmlns:a16="http://schemas.microsoft.com/office/drawing/2014/main" id="{D40E51F6-3AE5-27B1-CD3D-6AEEBB5E8C2F}"/>
              </a:ext>
            </a:extLst>
          </p:cNvPr>
          <p:cNvGrpSpPr/>
          <p:nvPr/>
        </p:nvGrpSpPr>
        <p:grpSpPr>
          <a:xfrm>
            <a:off x="354479" y="2995897"/>
            <a:ext cx="1962118" cy="217705"/>
            <a:chOff x="6858017" y="1127809"/>
            <a:chExt cx="1962118" cy="217705"/>
          </a:xfrm>
        </p:grpSpPr>
        <p:pic>
          <p:nvPicPr>
            <p:cNvPr id="12" name="Picture 10" descr="terno-logo | Kawar">
              <a:extLst>
                <a:ext uri="{FF2B5EF4-FFF2-40B4-BE49-F238E27FC236}">
                  <a16:creationId xmlns:a16="http://schemas.microsoft.com/office/drawing/2014/main" id="{AEF383A1-190B-10C1-6B1B-652E2B74E5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7945" y="1145333"/>
              <a:ext cx="672190" cy="177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Kontakt">
              <a:extLst>
                <a:ext uri="{FF2B5EF4-FFF2-40B4-BE49-F238E27FC236}">
                  <a16:creationId xmlns:a16="http://schemas.microsoft.com/office/drawing/2014/main" id="{F2E20F6C-0CF6-63CF-8876-358698F56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017" y="1127809"/>
              <a:ext cx="514441" cy="217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4" descr="KREMIX plus, s.r.o. Banská Bystrica - klimatizácie, tepelné čerpadlá,  revízie">
              <a:extLst>
                <a:ext uri="{FF2B5EF4-FFF2-40B4-BE49-F238E27FC236}">
                  <a16:creationId xmlns:a16="http://schemas.microsoft.com/office/drawing/2014/main" id="{7E1232AA-C8D8-BD63-9566-95700F7487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3297" y="1156942"/>
              <a:ext cx="726245" cy="1656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23533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C94F9-104C-6EE1-E779-59ECF9F35C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">
            <a:extLst>
              <a:ext uri="{FF2B5EF4-FFF2-40B4-BE49-F238E27FC236}">
                <a16:creationId xmlns:a16="http://schemas.microsoft.com/office/drawing/2014/main" id="{CCF308B3-57F5-4676-3294-78D13ABF1F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1095533"/>
              </p:ext>
            </p:extLst>
          </p:nvPr>
        </p:nvGraphicFramePr>
        <p:xfrm>
          <a:off x="207013" y="996998"/>
          <a:ext cx="2954703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0" name="Obrázok 29">
            <a:extLst>
              <a:ext uri="{FF2B5EF4-FFF2-40B4-BE49-F238E27FC236}">
                <a16:creationId xmlns:a16="http://schemas.microsoft.com/office/drawing/2014/main" id="{8E13A8E3-FFAE-906E-74A0-27FC263166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427" y="1073945"/>
            <a:ext cx="661454" cy="258876"/>
          </a:xfrm>
          <a:prstGeom prst="rect">
            <a:avLst/>
          </a:prstGeom>
        </p:spPr>
      </p:pic>
      <p:graphicFrame>
        <p:nvGraphicFramePr>
          <p:cNvPr id="37" name="Object 2">
            <a:extLst>
              <a:ext uri="{FF2B5EF4-FFF2-40B4-BE49-F238E27FC236}">
                <a16:creationId xmlns:a16="http://schemas.microsoft.com/office/drawing/2014/main" id="{0696BF35-E8A3-743F-ABAE-0CA6E1A95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530753"/>
              </p:ext>
            </p:extLst>
          </p:nvPr>
        </p:nvGraphicFramePr>
        <p:xfrm>
          <a:off x="5890295" y="993176"/>
          <a:ext cx="2954703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1" name="Obrázok 40">
            <a:extLst>
              <a:ext uri="{FF2B5EF4-FFF2-40B4-BE49-F238E27FC236}">
                <a16:creationId xmlns:a16="http://schemas.microsoft.com/office/drawing/2014/main" id="{EECD4BB9-2E12-BED8-6CF2-3FC697080F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29972" y="1074767"/>
            <a:ext cx="359254" cy="342933"/>
          </a:xfrm>
          <a:prstGeom prst="rect">
            <a:avLst/>
          </a:prstGeom>
        </p:spPr>
      </p:pic>
      <p:sp>
        <p:nvSpPr>
          <p:cNvPr id="34" name="Nadpis 3">
            <a:extLst>
              <a:ext uri="{FF2B5EF4-FFF2-40B4-BE49-F238E27FC236}">
                <a16:creationId xmlns:a16="http://schemas.microsoft.com/office/drawing/2014/main" id="{4F233CB2-1A9C-66F6-4D4E-25228156A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dľa jednotlivých reťazcov I Trend 2011 - 2026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35" name="Zástupný symbol textu 10">
            <a:extLst>
              <a:ext uri="{FF2B5EF4-FFF2-40B4-BE49-F238E27FC236}">
                <a16:creationId xmlns:a16="http://schemas.microsoft.com/office/drawing/2014/main" id="{FBE60CEE-D333-0E16-C8D2-F92A043C7FAC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722CAD8-6B52-64B1-A8D1-06723C9F24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3738131"/>
              </p:ext>
            </p:extLst>
          </p:nvPr>
        </p:nvGraphicFramePr>
        <p:xfrm>
          <a:off x="3002396" y="994242"/>
          <a:ext cx="3025561" cy="1840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5" name="Obrázok 4">
            <a:extLst>
              <a:ext uri="{FF2B5EF4-FFF2-40B4-BE49-F238E27FC236}">
                <a16:creationId xmlns:a16="http://schemas.microsoft.com/office/drawing/2014/main" id="{FAE2B662-B861-350C-02B4-6826C1A4B80E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1169" t="3298" r="224" b="8155"/>
          <a:stretch/>
        </p:blipFill>
        <p:spPr>
          <a:xfrm>
            <a:off x="3212600" y="1032856"/>
            <a:ext cx="867678" cy="373958"/>
          </a:xfrm>
          <a:prstGeom prst="rect">
            <a:avLst/>
          </a:prstGeom>
        </p:spPr>
      </p:pic>
      <p:sp>
        <p:nvSpPr>
          <p:cNvPr id="8" name="BlokTextu 7">
            <a:extLst>
              <a:ext uri="{FF2B5EF4-FFF2-40B4-BE49-F238E27FC236}">
                <a16:creationId xmlns:a16="http://schemas.microsoft.com/office/drawing/2014/main" id="{14D6A165-3E29-86D0-21B0-DA7A5046627C}"/>
              </a:ext>
            </a:extLst>
          </p:cNvPr>
          <p:cNvSpPr txBox="1"/>
          <p:nvPr/>
        </p:nvSpPr>
        <p:spPr bwMode="gray">
          <a:xfrm>
            <a:off x="3166614" y="1417700"/>
            <a:ext cx="2191093" cy="59247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sk-SK" sz="6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V roku 2025 boli monitorované všetky štyri otvorené predajne (meranie prebiehalo tesne po vstupe </a:t>
            </a:r>
            <a:r>
              <a:rPr lang="sk-SK" sz="600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Biedronky</a:t>
            </a:r>
            <a:r>
              <a:rPr lang="sk-SK" sz="6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na slovenský trh).</a:t>
            </a:r>
          </a:p>
          <a:p>
            <a:pPr>
              <a:spcBef>
                <a:spcPts val="300"/>
              </a:spcBef>
            </a:pPr>
            <a:r>
              <a:rPr lang="sk-SK" sz="6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V roku 2026 bolo monitorovaných 13 predajní z celkových 15 otvorených predajní.</a:t>
            </a:r>
          </a:p>
        </p:txBody>
      </p:sp>
    </p:spTree>
    <p:extLst>
      <p:ext uri="{BB962C8B-B14F-4D97-AF65-F5344CB8AC3E}">
        <p14:creationId xmlns:p14="http://schemas.microsoft.com/office/powerpoint/2010/main" val="28464639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ľka 1">
            <a:extLst>
              <a:ext uri="{FF2B5EF4-FFF2-40B4-BE49-F238E27FC236}">
                <a16:creationId xmlns:a16="http://schemas.microsoft.com/office/drawing/2014/main" id="{BA367765-A59B-DA55-A26C-B34C8E469643}"/>
              </a:ext>
            </a:extLst>
          </p:cNvPr>
          <p:cNvGraphicFramePr>
            <a:graphicFrameLocks noGrp="1"/>
          </p:cNvGraphicFramePr>
          <p:nvPr/>
        </p:nvGraphicFramePr>
        <p:xfrm>
          <a:off x="137220" y="1280829"/>
          <a:ext cx="8856200" cy="3456000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5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mlie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pt-BR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vody a minerálky neochut. a ochutené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vín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piv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mliečne výrobky - ostatné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mäsové výrobky (balené, nemrazené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36355963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liehoviny a destilát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mliečne výrobky - prírodné sy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cestovi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spracované produkt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40580421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trvanlivé pečivo (balené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neal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cukrovinky - čokoládové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konzervované produkt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olej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sk-SK" sz="800" b="0" i="0" u="none" strike="noStrike">
                          <a:solidFill>
                            <a:srgbClr val="595959"/>
                          </a:solidFill>
                          <a:effectLst/>
                          <a:latin typeface="Arial CE" panose="020B0604020202020204" pitchFamily="34" charset="0"/>
                        </a:rPr>
                        <a:t>cukrovinky - nečokoládové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sk-SK" sz="800" b="1" i="0" u="none" strike="noStrike">
                        <a:effectLst/>
                        <a:latin typeface="Arial CE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3" name="AutoShape 15">
            <a:extLst>
              <a:ext uri="{FF2B5EF4-FFF2-40B4-BE49-F238E27FC236}">
                <a16:creationId xmlns:a16="http://schemas.microsoft.com/office/drawing/2014/main" id="{A3BF16FE-8751-4F00-9D99-197FFBACFC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9322" y="860741"/>
            <a:ext cx="1296000" cy="360000"/>
          </a:xfrm>
          <a:prstGeom prst="roundRect">
            <a:avLst>
              <a:gd name="adj" fmla="val 19132"/>
            </a:avLst>
          </a:prstGeom>
          <a:solidFill>
            <a:schemeClr val="bg1">
              <a:alpha val="92157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sk-SK" sz="1000">
                <a:solidFill>
                  <a:srgbClr val="000000"/>
                </a:solidFill>
                <a:latin typeface="+mj-lt"/>
                <a:cs typeface="Arial" pitchFamily="34" charset="0"/>
              </a:rPr>
              <a:t>Malé predajne</a:t>
            </a:r>
          </a:p>
        </p:txBody>
      </p:sp>
      <p:sp>
        <p:nvSpPr>
          <p:cNvPr id="49" name="AutoShape 15">
            <a:extLst>
              <a:ext uri="{FF2B5EF4-FFF2-40B4-BE49-F238E27FC236}">
                <a16:creationId xmlns:a16="http://schemas.microsoft.com/office/drawing/2014/main" id="{E3773236-9024-4327-B43A-B553BD5136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4653" y="854017"/>
            <a:ext cx="1296000" cy="360000"/>
          </a:xfrm>
          <a:prstGeom prst="roundRect">
            <a:avLst>
              <a:gd name="adj" fmla="val 19132"/>
            </a:avLst>
          </a:prstGeom>
          <a:solidFill>
            <a:schemeClr val="bg1">
              <a:alpha val="92157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sk-SK" sz="1000">
                <a:solidFill>
                  <a:srgbClr val="000000"/>
                </a:solidFill>
                <a:latin typeface="+mj-lt"/>
                <a:cs typeface="Arial" pitchFamily="34" charset="0"/>
              </a:rPr>
              <a:t>Supermarkety</a:t>
            </a:r>
            <a:endParaRPr lang="sk-SK" sz="80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utoShape 15">
            <a:extLst>
              <a:ext uri="{FF2B5EF4-FFF2-40B4-BE49-F238E27FC236}">
                <a16:creationId xmlns:a16="http://schemas.microsoft.com/office/drawing/2014/main" id="{7D938094-D7B5-4E15-98C4-6373AC9F2A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521" y="860741"/>
            <a:ext cx="1296000" cy="360000"/>
          </a:xfrm>
          <a:prstGeom prst="roundRect">
            <a:avLst>
              <a:gd name="adj" fmla="val 19132"/>
            </a:avLst>
          </a:prstGeom>
          <a:solidFill>
            <a:schemeClr val="bg1">
              <a:alpha val="92157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sk-SK" sz="1000">
                <a:solidFill>
                  <a:srgbClr val="000000"/>
                </a:solidFill>
                <a:latin typeface="+mj-lt"/>
                <a:cs typeface="Arial" pitchFamily="34" charset="0"/>
              </a:rPr>
              <a:t>Hypermarkety</a:t>
            </a:r>
            <a:endParaRPr lang="sk-SK" sz="80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AutoShape 15">
            <a:extLst>
              <a:ext uri="{FF2B5EF4-FFF2-40B4-BE49-F238E27FC236}">
                <a16:creationId xmlns:a16="http://schemas.microsoft.com/office/drawing/2014/main" id="{09877EBE-6D05-4670-B0BC-FAE081CFF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0591" y="860741"/>
            <a:ext cx="1350539" cy="360000"/>
          </a:xfrm>
          <a:prstGeom prst="roundRect">
            <a:avLst>
              <a:gd name="adj" fmla="val 19132"/>
            </a:avLst>
          </a:prstGeom>
          <a:solidFill>
            <a:schemeClr val="bg1">
              <a:alpha val="92157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sk-SK" sz="1000">
                <a:solidFill>
                  <a:srgbClr val="000000"/>
                </a:solidFill>
                <a:latin typeface="+mj-lt"/>
                <a:cs typeface="Arial" pitchFamily="34" charset="0"/>
              </a:rPr>
              <a:t>Diskontné predajne </a:t>
            </a:r>
          </a:p>
        </p:txBody>
      </p:sp>
      <p:graphicFrame>
        <p:nvGraphicFramePr>
          <p:cNvPr id="28" name="Object 5">
            <a:extLst>
              <a:ext uri="{FF2B5EF4-FFF2-40B4-BE49-F238E27FC236}">
                <a16:creationId xmlns:a16="http://schemas.microsoft.com/office/drawing/2014/main" id="{2602C661-714D-435B-A825-93C35E0F3E51}"/>
              </a:ext>
            </a:extLst>
          </p:cNvPr>
          <p:cNvGraphicFramePr>
            <a:graphicFrameLocks/>
          </p:cNvGraphicFramePr>
          <p:nvPr/>
        </p:nvGraphicFramePr>
        <p:xfrm>
          <a:off x="2007937" y="1204401"/>
          <a:ext cx="1556794" cy="3532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1CBCC3E-8725-4D50-A4B3-E5B26736A54E}"/>
              </a:ext>
            </a:extLst>
          </p:cNvPr>
          <p:cNvGrpSpPr/>
          <p:nvPr/>
        </p:nvGrpSpPr>
        <p:grpSpPr>
          <a:xfrm>
            <a:off x="2723416" y="1241698"/>
            <a:ext cx="252000" cy="3600400"/>
            <a:chOff x="4932019" y="1265057"/>
            <a:chExt cx="252000" cy="3600400"/>
          </a:xfrm>
        </p:grpSpPr>
        <p:sp>
          <p:nvSpPr>
            <p:cNvPr id="30" name="Line 7">
              <a:extLst>
                <a:ext uri="{FF2B5EF4-FFF2-40B4-BE49-F238E27FC236}">
                  <a16:creationId xmlns:a16="http://schemas.microsoft.com/office/drawing/2014/main" id="{176B3FAC-CF5D-4346-B09F-07E0D840D7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56985" y="1265057"/>
              <a:ext cx="2176" cy="3359064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k-SK" sz="1000">
                <a:latin typeface="+mj-lt"/>
              </a:endParaRPr>
            </a:p>
          </p:txBody>
        </p:sp>
        <p:sp>
          <p:nvSpPr>
            <p:cNvPr id="31" name="Ovál 30">
              <a:extLst>
                <a:ext uri="{FF2B5EF4-FFF2-40B4-BE49-F238E27FC236}">
                  <a16:creationId xmlns:a16="http://schemas.microsoft.com/office/drawing/2014/main" id="{08DEC583-026E-41A0-B17D-729B0BF0C3C6}"/>
                </a:ext>
              </a:extLst>
            </p:cNvPr>
            <p:cNvSpPr/>
            <p:nvPr/>
          </p:nvSpPr>
          <p:spPr bwMode="gray">
            <a:xfrm>
              <a:off x="4932019" y="4613457"/>
              <a:ext cx="252000" cy="25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sk-SK" sz="7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53</a:t>
              </a:r>
              <a:r>
                <a:rPr lang="sk-SK" sz="6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sk-SK" sz="6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2" name="Obdĺžnik 31">
            <a:extLst>
              <a:ext uri="{FF2B5EF4-FFF2-40B4-BE49-F238E27FC236}">
                <a16:creationId xmlns:a16="http://schemas.microsoft.com/office/drawing/2014/main" id="{1E9E92CA-1316-485F-A796-8B4628D562B5}"/>
              </a:ext>
            </a:extLst>
          </p:cNvPr>
          <p:cNvSpPr/>
          <p:nvPr/>
        </p:nvSpPr>
        <p:spPr>
          <a:xfrm>
            <a:off x="1673130" y="1079881"/>
            <a:ext cx="3561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k-SK" sz="800">
                <a:solidFill>
                  <a:schemeClr val="bg2"/>
                </a:solidFill>
              </a:rPr>
              <a:t>v %</a:t>
            </a:r>
          </a:p>
        </p:txBody>
      </p:sp>
      <p:graphicFrame>
        <p:nvGraphicFramePr>
          <p:cNvPr id="33" name="Object 5">
            <a:extLst>
              <a:ext uri="{FF2B5EF4-FFF2-40B4-BE49-F238E27FC236}">
                <a16:creationId xmlns:a16="http://schemas.microsoft.com/office/drawing/2014/main" id="{7EB4E8F7-13B4-447D-9707-3CF754B54C94}"/>
              </a:ext>
            </a:extLst>
          </p:cNvPr>
          <p:cNvGraphicFramePr>
            <a:graphicFrameLocks/>
          </p:cNvGraphicFramePr>
          <p:nvPr/>
        </p:nvGraphicFramePr>
        <p:xfrm>
          <a:off x="3796278" y="1204497"/>
          <a:ext cx="1556794" cy="3532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" name="Object 5">
            <a:extLst>
              <a:ext uri="{FF2B5EF4-FFF2-40B4-BE49-F238E27FC236}">
                <a16:creationId xmlns:a16="http://schemas.microsoft.com/office/drawing/2014/main" id="{A8CA5838-6AFB-43C1-8116-1A315137DAD5}"/>
              </a:ext>
            </a:extLst>
          </p:cNvPr>
          <p:cNvGraphicFramePr>
            <a:graphicFrameLocks/>
          </p:cNvGraphicFramePr>
          <p:nvPr/>
        </p:nvGraphicFramePr>
        <p:xfrm>
          <a:off x="5610768" y="1201918"/>
          <a:ext cx="1556794" cy="3532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5" name="Object 5">
            <a:extLst>
              <a:ext uri="{FF2B5EF4-FFF2-40B4-BE49-F238E27FC236}">
                <a16:creationId xmlns:a16="http://schemas.microsoft.com/office/drawing/2014/main" id="{7F8DF8E0-70B8-4E8A-85A7-6F7253902D59}"/>
              </a:ext>
            </a:extLst>
          </p:cNvPr>
          <p:cNvGraphicFramePr>
            <a:graphicFrameLocks/>
          </p:cNvGraphicFramePr>
          <p:nvPr/>
        </p:nvGraphicFramePr>
        <p:xfrm>
          <a:off x="7399109" y="1206878"/>
          <a:ext cx="1556794" cy="3532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38" name="Skupina 37">
            <a:extLst>
              <a:ext uri="{FF2B5EF4-FFF2-40B4-BE49-F238E27FC236}">
                <a16:creationId xmlns:a16="http://schemas.microsoft.com/office/drawing/2014/main" id="{4A840A0D-8C5E-4146-A6DB-99E7BEC7EECC}"/>
              </a:ext>
            </a:extLst>
          </p:cNvPr>
          <p:cNvGrpSpPr/>
          <p:nvPr/>
        </p:nvGrpSpPr>
        <p:grpSpPr>
          <a:xfrm>
            <a:off x="4389962" y="1244077"/>
            <a:ext cx="252000" cy="3600400"/>
            <a:chOff x="4932019" y="1265057"/>
            <a:chExt cx="252000" cy="3600400"/>
          </a:xfrm>
        </p:grpSpPr>
        <p:sp>
          <p:nvSpPr>
            <p:cNvPr id="39" name="Line 7">
              <a:extLst>
                <a:ext uri="{FF2B5EF4-FFF2-40B4-BE49-F238E27FC236}">
                  <a16:creationId xmlns:a16="http://schemas.microsoft.com/office/drawing/2014/main" id="{DF26B154-64D1-411A-8379-7919D80B7D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56985" y="1265057"/>
              <a:ext cx="2176" cy="3359064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k-SK" sz="1000">
                <a:latin typeface="+mj-lt"/>
              </a:endParaRPr>
            </a:p>
          </p:txBody>
        </p:sp>
        <p:sp>
          <p:nvSpPr>
            <p:cNvPr id="40" name="Ovál 39">
              <a:extLst>
                <a:ext uri="{FF2B5EF4-FFF2-40B4-BE49-F238E27FC236}">
                  <a16:creationId xmlns:a16="http://schemas.microsoft.com/office/drawing/2014/main" id="{7485D1DC-F542-4037-88CB-217924279C0F}"/>
                </a:ext>
              </a:extLst>
            </p:cNvPr>
            <p:cNvSpPr/>
            <p:nvPr/>
          </p:nvSpPr>
          <p:spPr bwMode="gray">
            <a:xfrm>
              <a:off x="4932019" y="4613457"/>
              <a:ext cx="252000" cy="25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sk-SK" sz="7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5</a:t>
              </a:r>
              <a:r>
                <a:rPr lang="sk-SK" sz="6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sk-SK" sz="6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Skupina 40">
            <a:extLst>
              <a:ext uri="{FF2B5EF4-FFF2-40B4-BE49-F238E27FC236}">
                <a16:creationId xmlns:a16="http://schemas.microsoft.com/office/drawing/2014/main" id="{ADC72717-2F00-49BA-B532-6A4599CC437C}"/>
              </a:ext>
            </a:extLst>
          </p:cNvPr>
          <p:cNvGrpSpPr/>
          <p:nvPr/>
        </p:nvGrpSpPr>
        <p:grpSpPr>
          <a:xfrm>
            <a:off x="6135920" y="1251224"/>
            <a:ext cx="252000" cy="3600400"/>
            <a:chOff x="4932019" y="1265057"/>
            <a:chExt cx="252000" cy="3600400"/>
          </a:xfrm>
        </p:grpSpPr>
        <p:sp>
          <p:nvSpPr>
            <p:cNvPr id="42" name="Line 7">
              <a:extLst>
                <a:ext uri="{FF2B5EF4-FFF2-40B4-BE49-F238E27FC236}">
                  <a16:creationId xmlns:a16="http://schemas.microsoft.com/office/drawing/2014/main" id="{48B92D82-C8CB-45E5-98A9-F6C1332F96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56985" y="1265057"/>
              <a:ext cx="2176" cy="3359064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k-SK" sz="1000">
                <a:latin typeface="+mj-lt"/>
              </a:endParaRPr>
            </a:p>
          </p:txBody>
        </p:sp>
        <p:sp>
          <p:nvSpPr>
            <p:cNvPr id="54" name="Ovál 53">
              <a:extLst>
                <a:ext uri="{FF2B5EF4-FFF2-40B4-BE49-F238E27FC236}">
                  <a16:creationId xmlns:a16="http://schemas.microsoft.com/office/drawing/2014/main" id="{2380AB84-D9EA-40E5-9C6E-02063ADCF833}"/>
                </a:ext>
              </a:extLst>
            </p:cNvPr>
            <p:cNvSpPr/>
            <p:nvPr/>
          </p:nvSpPr>
          <p:spPr bwMode="gray">
            <a:xfrm>
              <a:off x="4932019" y="4613457"/>
              <a:ext cx="252000" cy="25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sk-SK" sz="7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1</a:t>
              </a:r>
              <a:r>
                <a:rPr lang="sk-SK" sz="6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sk-SK" sz="6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0" name="Skupina 59">
            <a:extLst>
              <a:ext uri="{FF2B5EF4-FFF2-40B4-BE49-F238E27FC236}">
                <a16:creationId xmlns:a16="http://schemas.microsoft.com/office/drawing/2014/main" id="{5D8B4B3F-1117-4E8C-B53E-608BF9129379}"/>
              </a:ext>
            </a:extLst>
          </p:cNvPr>
          <p:cNvGrpSpPr/>
          <p:nvPr/>
        </p:nvGrpSpPr>
        <p:grpSpPr>
          <a:xfrm>
            <a:off x="7807046" y="1253603"/>
            <a:ext cx="252000" cy="3600400"/>
            <a:chOff x="4932019" y="1265057"/>
            <a:chExt cx="252000" cy="3600400"/>
          </a:xfrm>
        </p:grpSpPr>
        <p:sp>
          <p:nvSpPr>
            <p:cNvPr id="66" name="Line 7">
              <a:extLst>
                <a:ext uri="{FF2B5EF4-FFF2-40B4-BE49-F238E27FC236}">
                  <a16:creationId xmlns:a16="http://schemas.microsoft.com/office/drawing/2014/main" id="{EA2C8482-1D05-4BD6-A09F-70ABEBD52C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56985" y="1265057"/>
              <a:ext cx="2176" cy="3359064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k-SK" sz="1000">
                <a:latin typeface="+mj-lt"/>
              </a:endParaRPr>
            </a:p>
          </p:txBody>
        </p:sp>
        <p:sp>
          <p:nvSpPr>
            <p:cNvPr id="67" name="Ovál 66">
              <a:extLst>
                <a:ext uri="{FF2B5EF4-FFF2-40B4-BE49-F238E27FC236}">
                  <a16:creationId xmlns:a16="http://schemas.microsoft.com/office/drawing/2014/main" id="{AA36AAAB-706E-4ECB-BCB5-6B1A21052282}"/>
                </a:ext>
              </a:extLst>
            </p:cNvPr>
            <p:cNvSpPr/>
            <p:nvPr/>
          </p:nvSpPr>
          <p:spPr bwMode="gray">
            <a:xfrm>
              <a:off x="4932019" y="4613457"/>
              <a:ext cx="252000" cy="25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sk-SK" sz="7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3</a:t>
              </a:r>
              <a:r>
                <a:rPr lang="sk-SK" sz="6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sk-SK" sz="6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" name="Nadpis 3">
            <a:extLst>
              <a:ext uri="{FF2B5EF4-FFF2-40B4-BE49-F238E27FC236}">
                <a16:creationId xmlns:a16="http://schemas.microsoft.com/office/drawing/2014/main" id="{85058DF2-006C-4291-93FB-F48B103C31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dľa kategórií výrobkov a veľkosti predajne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44" name="Zástupný symbol textu 10">
            <a:extLst>
              <a:ext uri="{FF2B5EF4-FFF2-40B4-BE49-F238E27FC236}">
                <a16:creationId xmlns:a16="http://schemas.microsoft.com/office/drawing/2014/main" id="{56C035DB-E9D7-4375-B8B2-97825E1BD3FF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</p:spTree>
    <p:extLst>
      <p:ext uri="{BB962C8B-B14F-4D97-AF65-F5344CB8AC3E}">
        <p14:creationId xmlns:p14="http://schemas.microsoft.com/office/powerpoint/2010/main" val="112434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6"/>
          <p:cNvSpPr>
            <a:spLocks noChangeArrowheads="1"/>
          </p:cNvSpPr>
          <p:nvPr/>
        </p:nvSpPr>
        <p:spPr bwMode="auto">
          <a:xfrm>
            <a:off x="319334" y="963263"/>
            <a:ext cx="5577687" cy="3764657"/>
          </a:xfrm>
          <a:prstGeom prst="rect">
            <a:avLst/>
          </a:prstGeom>
          <a:gradFill flip="none" rotWithShape="1">
            <a:gsLst>
              <a:gs pos="55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square" lIns="180000" rIns="900000" anchor="ctr">
            <a:noAutofit/>
          </a:bodyPr>
          <a:lstStyle/>
          <a:p>
            <a:pPr marL="0" lvl="1" indent="0" fontAlgn="auto">
              <a:spcBef>
                <a:spcPts val="600"/>
              </a:spcBef>
              <a:spcAft>
                <a:spcPts val="1200"/>
              </a:spcAft>
              <a:defRPr/>
            </a:pPr>
            <a:endParaRPr lang="sk-SK" sz="1600" kern="0">
              <a:latin typeface="Insight print" pitchFamily="50" charset="-18"/>
            </a:endParaRPr>
          </a:p>
        </p:txBody>
      </p:sp>
      <p:graphicFrame>
        <p:nvGraphicFramePr>
          <p:cNvPr id="5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1275786"/>
              </p:ext>
            </p:extLst>
          </p:nvPr>
        </p:nvGraphicFramePr>
        <p:xfrm>
          <a:off x="198798" y="985416"/>
          <a:ext cx="5163321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Tabuľk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673683"/>
              </p:ext>
            </p:extLst>
          </p:nvPr>
        </p:nvGraphicFramePr>
        <p:xfrm>
          <a:off x="5036143" y="972717"/>
          <a:ext cx="360040" cy="3746080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360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-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-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-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-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413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sk-SK" sz="1000" b="1" i="0" u="none" strike="noStrike">
                          <a:solidFill>
                            <a:srgbClr val="808080"/>
                          </a:solidFill>
                          <a:effectLst/>
                          <a:latin typeface="Arial CE" panose="020B0604020202020204" pitchFamily="34" charset="0"/>
                        </a:rPr>
                        <a:t>-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31" name="Nadpis 3">
            <a:extLst>
              <a:ext uri="{FF2B5EF4-FFF2-40B4-BE49-F238E27FC236}">
                <a16:creationId xmlns:a16="http://schemas.microsoft.com/office/drawing/2014/main" id="{54787BD8-3CE5-497E-9C28-80AF79140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Podľa kategórií výrobkov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B088F048-B0FE-47F1-9568-4036CA405115}"/>
              </a:ext>
            </a:extLst>
          </p:cNvPr>
          <p:cNvGrpSpPr/>
          <p:nvPr/>
        </p:nvGrpSpPr>
        <p:grpSpPr>
          <a:xfrm>
            <a:off x="3682648" y="1037066"/>
            <a:ext cx="252000" cy="3805032"/>
            <a:chOff x="3233297" y="1037066"/>
            <a:chExt cx="252000" cy="3805032"/>
          </a:xfrm>
        </p:grpSpPr>
        <p:sp>
          <p:nvSpPr>
            <p:cNvPr id="33" name="Line 7">
              <a:extLst>
                <a:ext uri="{FF2B5EF4-FFF2-40B4-BE49-F238E27FC236}">
                  <a16:creationId xmlns:a16="http://schemas.microsoft.com/office/drawing/2014/main" id="{CDB9308B-68D2-47D1-B8E0-2126F6662A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9951" y="1037066"/>
              <a:ext cx="8312" cy="3572242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k-SK" sz="1000">
                <a:latin typeface="+mj-lt"/>
              </a:endParaRPr>
            </a:p>
          </p:txBody>
        </p:sp>
        <p:sp>
          <p:nvSpPr>
            <p:cNvPr id="41" name="Ovál 40">
              <a:extLst>
                <a:ext uri="{FF2B5EF4-FFF2-40B4-BE49-F238E27FC236}">
                  <a16:creationId xmlns:a16="http://schemas.microsoft.com/office/drawing/2014/main" id="{F13FEDD5-1AB3-4A4A-A4AB-C16AB1DC6386}"/>
                </a:ext>
              </a:extLst>
            </p:cNvPr>
            <p:cNvSpPr/>
            <p:nvPr/>
          </p:nvSpPr>
          <p:spPr bwMode="gray">
            <a:xfrm>
              <a:off x="3233297" y="4590098"/>
              <a:ext cx="252000" cy="25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sk-SK" sz="7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0</a:t>
              </a:r>
              <a:r>
                <a:rPr lang="sk-SK" sz="6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sk-SK" sz="6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2" name="Zástupný symbol textu 10">
            <a:extLst>
              <a:ext uri="{FF2B5EF4-FFF2-40B4-BE49-F238E27FC236}">
                <a16:creationId xmlns:a16="http://schemas.microsoft.com/office/drawing/2014/main" id="{13EB5367-33B9-4206-BC7E-F508E1457CF9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sp>
        <p:nvSpPr>
          <p:cNvPr id="43" name="BlokTextu 42">
            <a:extLst>
              <a:ext uri="{FF2B5EF4-FFF2-40B4-BE49-F238E27FC236}">
                <a16:creationId xmlns:a16="http://schemas.microsoft.com/office/drawing/2014/main" id="{CC9AAF69-9B86-49E4-8E90-6AB16B4A8EE3}"/>
              </a:ext>
            </a:extLst>
          </p:cNvPr>
          <p:cNvSpPr txBox="1"/>
          <p:nvPr/>
        </p:nvSpPr>
        <p:spPr>
          <a:xfrm>
            <a:off x="4884995" y="802818"/>
            <a:ext cx="665018" cy="199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vs </a:t>
            </a:r>
            <a:r>
              <a:rPr lang="sk-SK"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2025</a:t>
            </a:r>
            <a:endParaRPr lang="en-US" sz="110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Šípka doprava 21">
            <a:extLst>
              <a:ext uri="{FF2B5EF4-FFF2-40B4-BE49-F238E27FC236}">
                <a16:creationId xmlns:a16="http://schemas.microsoft.com/office/drawing/2014/main" id="{0EC9CDF8-69BA-4E07-822C-B7EAC06D16C3}"/>
              </a:ext>
            </a:extLst>
          </p:cNvPr>
          <p:cNvSpPr/>
          <p:nvPr/>
        </p:nvSpPr>
        <p:spPr bwMode="gray">
          <a:xfrm flipH="1" flipV="1">
            <a:off x="6511738" y="4843759"/>
            <a:ext cx="152400" cy="152400"/>
          </a:xfrm>
          <a:prstGeom prst="rightArrow">
            <a:avLst/>
          </a:prstGeom>
          <a:solidFill>
            <a:schemeClr val="accent3"/>
          </a:solidFill>
          <a:ln w="9525">
            <a:noFill/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9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Šípka doprava 22">
            <a:extLst>
              <a:ext uri="{FF2B5EF4-FFF2-40B4-BE49-F238E27FC236}">
                <a16:creationId xmlns:a16="http://schemas.microsoft.com/office/drawing/2014/main" id="{2E78826C-DAA3-4BE8-963C-F021B89970F5}"/>
              </a:ext>
            </a:extLst>
          </p:cNvPr>
          <p:cNvSpPr/>
          <p:nvPr/>
        </p:nvSpPr>
        <p:spPr bwMode="gray">
          <a:xfrm>
            <a:off x="6316074" y="4843759"/>
            <a:ext cx="152400" cy="152400"/>
          </a:xfrm>
          <a:prstGeom prst="rightArrow">
            <a:avLst/>
          </a:prstGeom>
          <a:solidFill>
            <a:schemeClr val="accent5"/>
          </a:solidFill>
          <a:ln w="9525">
            <a:noFill/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9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BlokTextu 45">
            <a:extLst>
              <a:ext uri="{FF2B5EF4-FFF2-40B4-BE49-F238E27FC236}">
                <a16:creationId xmlns:a16="http://schemas.microsoft.com/office/drawing/2014/main" id="{A2F313E9-DE4A-494C-8C02-FC4484689BEC}"/>
              </a:ext>
            </a:extLst>
          </p:cNvPr>
          <p:cNvSpPr txBox="1"/>
          <p:nvPr/>
        </p:nvSpPr>
        <p:spPr>
          <a:xfrm>
            <a:off x="6778658" y="4840717"/>
            <a:ext cx="2270439" cy="2773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sk-SK" sz="900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okles resp. nárast o viac ako 3 </a:t>
            </a:r>
            <a:r>
              <a:rPr lang="sk-SK" sz="900" i="1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.b</a:t>
            </a:r>
            <a:r>
              <a:rPr lang="sk-SK" sz="900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900" i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endParaRPr lang="en-US" sz="900" i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72280676-B166-88B2-1DA3-A8E62FDA6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8169" y="821414"/>
            <a:ext cx="2755631" cy="1835055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C7502A8D-B36C-5495-A0C2-B0F7E1B113D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675" y="2768586"/>
            <a:ext cx="2773990" cy="1809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76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5">
            <a:extLst>
              <a:ext uri="{FF2B5EF4-FFF2-40B4-BE49-F238E27FC236}">
                <a16:creationId xmlns:a16="http://schemas.microsoft.com/office/drawing/2014/main" id="{5BA0949F-A04A-3FB9-972D-44BF91C2C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085327"/>
              </p:ext>
            </p:extLst>
          </p:nvPr>
        </p:nvGraphicFramePr>
        <p:xfrm>
          <a:off x="-125261" y="1832866"/>
          <a:ext cx="2739555" cy="1306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0" name="Skupina 29">
            <a:extLst>
              <a:ext uri="{FF2B5EF4-FFF2-40B4-BE49-F238E27FC236}">
                <a16:creationId xmlns:a16="http://schemas.microsoft.com/office/drawing/2014/main" id="{BDED3EFD-61B8-46F4-8D3D-7E144A382EAC}"/>
              </a:ext>
            </a:extLst>
          </p:cNvPr>
          <p:cNvGrpSpPr/>
          <p:nvPr/>
        </p:nvGrpSpPr>
        <p:grpSpPr>
          <a:xfrm>
            <a:off x="2228850" y="1207165"/>
            <a:ext cx="6219825" cy="3183860"/>
            <a:chOff x="412750" y="1171575"/>
            <a:chExt cx="8131065" cy="4086225"/>
          </a:xfrm>
        </p:grpSpPr>
        <p:sp>
          <p:nvSpPr>
            <p:cNvPr id="31" name="Voľná forma 22">
              <a:extLst>
                <a:ext uri="{FF2B5EF4-FFF2-40B4-BE49-F238E27FC236}">
                  <a16:creationId xmlns:a16="http://schemas.microsoft.com/office/drawing/2014/main" id="{EA91ACA2-52DA-4584-97CD-1B9E55BD2FB1}"/>
                </a:ext>
              </a:extLst>
            </p:cNvPr>
            <p:cNvSpPr/>
            <p:nvPr/>
          </p:nvSpPr>
          <p:spPr>
            <a:xfrm>
              <a:off x="1670050" y="3143250"/>
              <a:ext cx="1924050" cy="2114550"/>
            </a:xfrm>
            <a:custGeom>
              <a:avLst/>
              <a:gdLst>
                <a:gd name="connsiteX0" fmla="*/ 0 w 1924050"/>
                <a:gd name="connsiteY0" fmla="*/ 2038350 h 2114550"/>
                <a:gd name="connsiteX1" fmla="*/ 0 w 1924050"/>
                <a:gd name="connsiteY1" fmla="*/ 2038350 h 2114550"/>
                <a:gd name="connsiteX2" fmla="*/ 57150 w 1924050"/>
                <a:gd name="connsiteY2" fmla="*/ 2051050 h 2114550"/>
                <a:gd name="connsiteX3" fmla="*/ 95250 w 1924050"/>
                <a:gd name="connsiteY3" fmla="*/ 2082800 h 2114550"/>
                <a:gd name="connsiteX4" fmla="*/ 139700 w 1924050"/>
                <a:gd name="connsiteY4" fmla="*/ 2101850 h 2114550"/>
                <a:gd name="connsiteX5" fmla="*/ 393700 w 1924050"/>
                <a:gd name="connsiteY5" fmla="*/ 2044700 h 2114550"/>
                <a:gd name="connsiteX6" fmla="*/ 927100 w 1924050"/>
                <a:gd name="connsiteY6" fmla="*/ 2114550 h 2114550"/>
                <a:gd name="connsiteX7" fmla="*/ 1104900 w 1924050"/>
                <a:gd name="connsiteY7" fmla="*/ 2057400 h 2114550"/>
                <a:gd name="connsiteX8" fmla="*/ 1193800 w 1924050"/>
                <a:gd name="connsiteY8" fmla="*/ 2101850 h 2114550"/>
                <a:gd name="connsiteX9" fmla="*/ 1276350 w 1924050"/>
                <a:gd name="connsiteY9" fmla="*/ 2057400 h 2114550"/>
                <a:gd name="connsiteX10" fmla="*/ 1409700 w 1924050"/>
                <a:gd name="connsiteY10" fmla="*/ 2076450 h 2114550"/>
                <a:gd name="connsiteX11" fmla="*/ 1543050 w 1924050"/>
                <a:gd name="connsiteY11" fmla="*/ 1987550 h 2114550"/>
                <a:gd name="connsiteX12" fmla="*/ 1701800 w 1924050"/>
                <a:gd name="connsiteY12" fmla="*/ 1930400 h 2114550"/>
                <a:gd name="connsiteX13" fmla="*/ 1543050 w 1924050"/>
                <a:gd name="connsiteY13" fmla="*/ 1784350 h 2114550"/>
                <a:gd name="connsiteX14" fmla="*/ 1568450 w 1924050"/>
                <a:gd name="connsiteY14" fmla="*/ 1682750 h 2114550"/>
                <a:gd name="connsiteX15" fmla="*/ 1517650 w 1924050"/>
                <a:gd name="connsiteY15" fmla="*/ 1568450 h 2114550"/>
                <a:gd name="connsiteX16" fmla="*/ 1625600 w 1924050"/>
                <a:gd name="connsiteY16" fmla="*/ 1524000 h 2114550"/>
                <a:gd name="connsiteX17" fmla="*/ 1682750 w 1924050"/>
                <a:gd name="connsiteY17" fmla="*/ 1416050 h 2114550"/>
                <a:gd name="connsiteX18" fmla="*/ 1860550 w 1924050"/>
                <a:gd name="connsiteY18" fmla="*/ 1390650 h 2114550"/>
                <a:gd name="connsiteX19" fmla="*/ 1854200 w 1924050"/>
                <a:gd name="connsiteY19" fmla="*/ 1308100 h 2114550"/>
                <a:gd name="connsiteX20" fmla="*/ 1924050 w 1924050"/>
                <a:gd name="connsiteY20" fmla="*/ 1225550 h 2114550"/>
                <a:gd name="connsiteX21" fmla="*/ 1911350 w 1924050"/>
                <a:gd name="connsiteY21" fmla="*/ 1136650 h 2114550"/>
                <a:gd name="connsiteX22" fmla="*/ 1924050 w 1924050"/>
                <a:gd name="connsiteY22" fmla="*/ 1060450 h 2114550"/>
                <a:gd name="connsiteX23" fmla="*/ 1860550 w 1924050"/>
                <a:gd name="connsiteY23" fmla="*/ 1111250 h 2114550"/>
                <a:gd name="connsiteX24" fmla="*/ 1778000 w 1924050"/>
                <a:gd name="connsiteY24" fmla="*/ 1104900 h 2114550"/>
                <a:gd name="connsiteX25" fmla="*/ 1701800 w 1924050"/>
                <a:gd name="connsiteY25" fmla="*/ 1187450 h 2114550"/>
                <a:gd name="connsiteX26" fmla="*/ 1625600 w 1924050"/>
                <a:gd name="connsiteY26" fmla="*/ 1162050 h 2114550"/>
                <a:gd name="connsiteX27" fmla="*/ 1524000 w 1924050"/>
                <a:gd name="connsiteY27" fmla="*/ 1181100 h 2114550"/>
                <a:gd name="connsiteX28" fmla="*/ 1574800 w 1924050"/>
                <a:gd name="connsiteY28" fmla="*/ 1066800 h 2114550"/>
                <a:gd name="connsiteX29" fmla="*/ 1562100 w 1924050"/>
                <a:gd name="connsiteY29" fmla="*/ 958850 h 2114550"/>
                <a:gd name="connsiteX30" fmla="*/ 1625600 w 1924050"/>
                <a:gd name="connsiteY30" fmla="*/ 908050 h 2114550"/>
                <a:gd name="connsiteX31" fmla="*/ 1625600 w 1924050"/>
                <a:gd name="connsiteY31" fmla="*/ 908050 h 2114550"/>
                <a:gd name="connsiteX32" fmla="*/ 1568450 w 1924050"/>
                <a:gd name="connsiteY32" fmla="*/ 819150 h 2114550"/>
                <a:gd name="connsiteX33" fmla="*/ 1568450 w 1924050"/>
                <a:gd name="connsiteY33" fmla="*/ 736600 h 2114550"/>
                <a:gd name="connsiteX34" fmla="*/ 1485900 w 1924050"/>
                <a:gd name="connsiteY34" fmla="*/ 635000 h 2114550"/>
                <a:gd name="connsiteX35" fmla="*/ 1416050 w 1924050"/>
                <a:gd name="connsiteY35" fmla="*/ 635000 h 2114550"/>
                <a:gd name="connsiteX36" fmla="*/ 1365250 w 1924050"/>
                <a:gd name="connsiteY36" fmla="*/ 685800 h 2114550"/>
                <a:gd name="connsiteX37" fmla="*/ 1346200 w 1924050"/>
                <a:gd name="connsiteY37" fmla="*/ 793750 h 2114550"/>
                <a:gd name="connsiteX38" fmla="*/ 1263650 w 1924050"/>
                <a:gd name="connsiteY38" fmla="*/ 800100 h 2114550"/>
                <a:gd name="connsiteX39" fmla="*/ 1193800 w 1924050"/>
                <a:gd name="connsiteY39" fmla="*/ 844550 h 2114550"/>
                <a:gd name="connsiteX40" fmla="*/ 1143000 w 1924050"/>
                <a:gd name="connsiteY40" fmla="*/ 819150 h 2114550"/>
                <a:gd name="connsiteX41" fmla="*/ 1206500 w 1924050"/>
                <a:gd name="connsiteY41" fmla="*/ 730250 h 2114550"/>
                <a:gd name="connsiteX42" fmla="*/ 1212850 w 1924050"/>
                <a:gd name="connsiteY42" fmla="*/ 666750 h 2114550"/>
                <a:gd name="connsiteX43" fmla="*/ 1168400 w 1924050"/>
                <a:gd name="connsiteY43" fmla="*/ 609600 h 2114550"/>
                <a:gd name="connsiteX44" fmla="*/ 1149350 w 1924050"/>
                <a:gd name="connsiteY44" fmla="*/ 546100 h 2114550"/>
                <a:gd name="connsiteX45" fmla="*/ 1149350 w 1924050"/>
                <a:gd name="connsiteY45" fmla="*/ 533400 h 2114550"/>
                <a:gd name="connsiteX46" fmla="*/ 1123950 w 1924050"/>
                <a:gd name="connsiteY46" fmla="*/ 438150 h 2114550"/>
                <a:gd name="connsiteX47" fmla="*/ 1130300 w 1924050"/>
                <a:gd name="connsiteY47" fmla="*/ 425450 h 2114550"/>
                <a:gd name="connsiteX48" fmla="*/ 1130300 w 1924050"/>
                <a:gd name="connsiteY48" fmla="*/ 425450 h 2114550"/>
                <a:gd name="connsiteX49" fmla="*/ 1130300 w 1924050"/>
                <a:gd name="connsiteY49" fmla="*/ 425450 h 2114550"/>
                <a:gd name="connsiteX50" fmla="*/ 1098550 w 1924050"/>
                <a:gd name="connsiteY50" fmla="*/ 476250 h 2114550"/>
                <a:gd name="connsiteX51" fmla="*/ 1085850 w 1924050"/>
                <a:gd name="connsiteY51" fmla="*/ 412750 h 2114550"/>
                <a:gd name="connsiteX52" fmla="*/ 1047750 w 1924050"/>
                <a:gd name="connsiteY52" fmla="*/ 349250 h 2114550"/>
                <a:gd name="connsiteX53" fmla="*/ 977900 w 1924050"/>
                <a:gd name="connsiteY53" fmla="*/ 419100 h 2114550"/>
                <a:gd name="connsiteX54" fmla="*/ 920750 w 1924050"/>
                <a:gd name="connsiteY54" fmla="*/ 463550 h 2114550"/>
                <a:gd name="connsiteX55" fmla="*/ 920750 w 1924050"/>
                <a:gd name="connsiteY55" fmla="*/ 463550 h 2114550"/>
                <a:gd name="connsiteX56" fmla="*/ 920750 w 1924050"/>
                <a:gd name="connsiteY56" fmla="*/ 463550 h 2114550"/>
                <a:gd name="connsiteX57" fmla="*/ 908050 w 1924050"/>
                <a:gd name="connsiteY57" fmla="*/ 508000 h 2114550"/>
                <a:gd name="connsiteX58" fmla="*/ 819150 w 1924050"/>
                <a:gd name="connsiteY58" fmla="*/ 488950 h 2114550"/>
                <a:gd name="connsiteX59" fmla="*/ 806450 w 1924050"/>
                <a:gd name="connsiteY59" fmla="*/ 412750 h 2114550"/>
                <a:gd name="connsiteX60" fmla="*/ 781050 w 1924050"/>
                <a:gd name="connsiteY60" fmla="*/ 368300 h 2114550"/>
                <a:gd name="connsiteX61" fmla="*/ 723900 w 1924050"/>
                <a:gd name="connsiteY61" fmla="*/ 374650 h 2114550"/>
                <a:gd name="connsiteX62" fmla="*/ 692150 w 1924050"/>
                <a:gd name="connsiteY62" fmla="*/ 292100 h 2114550"/>
                <a:gd name="connsiteX63" fmla="*/ 736600 w 1924050"/>
                <a:gd name="connsiteY63" fmla="*/ 209550 h 2114550"/>
                <a:gd name="connsiteX64" fmla="*/ 660400 w 1924050"/>
                <a:gd name="connsiteY64" fmla="*/ 203200 h 2114550"/>
                <a:gd name="connsiteX65" fmla="*/ 609600 w 1924050"/>
                <a:gd name="connsiteY65" fmla="*/ 146050 h 2114550"/>
                <a:gd name="connsiteX66" fmla="*/ 590550 w 1924050"/>
                <a:gd name="connsiteY66" fmla="*/ 57150 h 2114550"/>
                <a:gd name="connsiteX67" fmla="*/ 520700 w 1924050"/>
                <a:gd name="connsiteY67" fmla="*/ 50800 h 2114550"/>
                <a:gd name="connsiteX68" fmla="*/ 425450 w 1924050"/>
                <a:gd name="connsiteY68" fmla="*/ 0 h 2114550"/>
                <a:gd name="connsiteX69" fmla="*/ 393700 w 1924050"/>
                <a:gd name="connsiteY69" fmla="*/ 38100 h 2114550"/>
                <a:gd name="connsiteX70" fmla="*/ 412750 w 1924050"/>
                <a:gd name="connsiteY70" fmla="*/ 107950 h 2114550"/>
                <a:gd name="connsiteX71" fmla="*/ 387350 w 1924050"/>
                <a:gd name="connsiteY71" fmla="*/ 222250 h 2114550"/>
                <a:gd name="connsiteX72" fmla="*/ 400050 w 1924050"/>
                <a:gd name="connsiteY72" fmla="*/ 260350 h 2114550"/>
                <a:gd name="connsiteX73" fmla="*/ 355600 w 1924050"/>
                <a:gd name="connsiteY73" fmla="*/ 292100 h 2114550"/>
                <a:gd name="connsiteX74" fmla="*/ 190500 w 1924050"/>
                <a:gd name="connsiteY74" fmla="*/ 311150 h 2114550"/>
                <a:gd name="connsiteX75" fmla="*/ 190500 w 1924050"/>
                <a:gd name="connsiteY75" fmla="*/ 368300 h 2114550"/>
                <a:gd name="connsiteX76" fmla="*/ 228600 w 1924050"/>
                <a:gd name="connsiteY76" fmla="*/ 412750 h 2114550"/>
                <a:gd name="connsiteX77" fmla="*/ 254000 w 1924050"/>
                <a:gd name="connsiteY77" fmla="*/ 457200 h 2114550"/>
                <a:gd name="connsiteX78" fmla="*/ 323850 w 1924050"/>
                <a:gd name="connsiteY78" fmla="*/ 488950 h 2114550"/>
                <a:gd name="connsiteX79" fmla="*/ 349250 w 1924050"/>
                <a:gd name="connsiteY79" fmla="*/ 546100 h 2114550"/>
                <a:gd name="connsiteX80" fmla="*/ 260350 w 1924050"/>
                <a:gd name="connsiteY80" fmla="*/ 666750 h 2114550"/>
                <a:gd name="connsiteX81" fmla="*/ 209550 w 1924050"/>
                <a:gd name="connsiteY81" fmla="*/ 812800 h 2114550"/>
                <a:gd name="connsiteX82" fmla="*/ 177800 w 1924050"/>
                <a:gd name="connsiteY82" fmla="*/ 920750 h 2114550"/>
                <a:gd name="connsiteX83" fmla="*/ 209550 w 1924050"/>
                <a:gd name="connsiteY83" fmla="*/ 971550 h 2114550"/>
                <a:gd name="connsiteX84" fmla="*/ 203200 w 1924050"/>
                <a:gd name="connsiteY84" fmla="*/ 1022350 h 2114550"/>
                <a:gd name="connsiteX85" fmla="*/ 228600 w 1924050"/>
                <a:gd name="connsiteY85" fmla="*/ 1092200 h 2114550"/>
                <a:gd name="connsiteX86" fmla="*/ 215900 w 1924050"/>
                <a:gd name="connsiteY86" fmla="*/ 1155700 h 2114550"/>
                <a:gd name="connsiteX87" fmla="*/ 152400 w 1924050"/>
                <a:gd name="connsiteY87" fmla="*/ 1149350 h 2114550"/>
                <a:gd name="connsiteX88" fmla="*/ 82550 w 1924050"/>
                <a:gd name="connsiteY88" fmla="*/ 1111250 h 2114550"/>
                <a:gd name="connsiteX89" fmla="*/ 152400 w 1924050"/>
                <a:gd name="connsiteY89" fmla="*/ 1206500 h 2114550"/>
                <a:gd name="connsiteX90" fmla="*/ 25400 w 1924050"/>
                <a:gd name="connsiteY90" fmla="*/ 1206500 h 2114550"/>
                <a:gd name="connsiteX91" fmla="*/ 101600 w 1924050"/>
                <a:gd name="connsiteY91" fmla="*/ 1270000 h 2114550"/>
                <a:gd name="connsiteX92" fmla="*/ 133350 w 1924050"/>
                <a:gd name="connsiteY92" fmla="*/ 1301750 h 2114550"/>
                <a:gd name="connsiteX93" fmla="*/ 114300 w 1924050"/>
                <a:gd name="connsiteY93" fmla="*/ 1358900 h 2114550"/>
                <a:gd name="connsiteX94" fmla="*/ 139700 w 1924050"/>
                <a:gd name="connsiteY94" fmla="*/ 1403350 h 2114550"/>
                <a:gd name="connsiteX95" fmla="*/ 209550 w 1924050"/>
                <a:gd name="connsiteY95" fmla="*/ 1390650 h 2114550"/>
                <a:gd name="connsiteX96" fmla="*/ 260350 w 1924050"/>
                <a:gd name="connsiteY96" fmla="*/ 1670050 h 2114550"/>
                <a:gd name="connsiteX97" fmla="*/ 260350 w 1924050"/>
                <a:gd name="connsiteY97" fmla="*/ 1670050 h 2114550"/>
                <a:gd name="connsiteX98" fmla="*/ 209550 w 1924050"/>
                <a:gd name="connsiteY98" fmla="*/ 1695450 h 2114550"/>
                <a:gd name="connsiteX99" fmla="*/ 234950 w 1924050"/>
                <a:gd name="connsiteY99" fmla="*/ 1739900 h 2114550"/>
                <a:gd name="connsiteX100" fmla="*/ 234950 w 1924050"/>
                <a:gd name="connsiteY100" fmla="*/ 1739900 h 2114550"/>
                <a:gd name="connsiteX101" fmla="*/ 234950 w 1924050"/>
                <a:gd name="connsiteY101" fmla="*/ 1752600 h 2114550"/>
                <a:gd name="connsiteX102" fmla="*/ 184150 w 1924050"/>
                <a:gd name="connsiteY102" fmla="*/ 1771650 h 2114550"/>
                <a:gd name="connsiteX103" fmla="*/ 177800 w 1924050"/>
                <a:gd name="connsiteY103" fmla="*/ 1790700 h 2114550"/>
                <a:gd name="connsiteX104" fmla="*/ 139700 w 1924050"/>
                <a:gd name="connsiteY104" fmla="*/ 1809750 h 2114550"/>
                <a:gd name="connsiteX105" fmla="*/ 133350 w 1924050"/>
                <a:gd name="connsiteY105" fmla="*/ 1828800 h 2114550"/>
                <a:gd name="connsiteX106" fmla="*/ 107950 w 1924050"/>
                <a:gd name="connsiteY106" fmla="*/ 1917700 h 2114550"/>
                <a:gd name="connsiteX107" fmla="*/ 82550 w 1924050"/>
                <a:gd name="connsiteY107" fmla="*/ 1955800 h 2114550"/>
                <a:gd name="connsiteX108" fmla="*/ 6350 w 1924050"/>
                <a:gd name="connsiteY108" fmla="*/ 1917700 h 2114550"/>
                <a:gd name="connsiteX109" fmla="*/ 0 w 1924050"/>
                <a:gd name="connsiteY109" fmla="*/ 2038350 h 211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1924050" h="2114550">
                  <a:moveTo>
                    <a:pt x="0" y="2038350"/>
                  </a:moveTo>
                  <a:lnTo>
                    <a:pt x="0" y="2038350"/>
                  </a:lnTo>
                  <a:cubicBezTo>
                    <a:pt x="19050" y="2042583"/>
                    <a:pt x="38637" y="2044879"/>
                    <a:pt x="57150" y="2051050"/>
                  </a:cubicBezTo>
                  <a:cubicBezTo>
                    <a:pt x="85440" y="2060480"/>
                    <a:pt x="68723" y="2068063"/>
                    <a:pt x="95250" y="2082800"/>
                  </a:cubicBezTo>
                  <a:cubicBezTo>
                    <a:pt x="156660" y="2116917"/>
                    <a:pt x="119307" y="2081457"/>
                    <a:pt x="139700" y="2101850"/>
                  </a:cubicBezTo>
                  <a:lnTo>
                    <a:pt x="393700" y="2044700"/>
                  </a:lnTo>
                  <a:lnTo>
                    <a:pt x="927100" y="2114550"/>
                  </a:lnTo>
                  <a:lnTo>
                    <a:pt x="1104900" y="2057400"/>
                  </a:lnTo>
                  <a:lnTo>
                    <a:pt x="1193800" y="2101850"/>
                  </a:lnTo>
                  <a:lnTo>
                    <a:pt x="1276350" y="2057400"/>
                  </a:lnTo>
                  <a:lnTo>
                    <a:pt x="1409700" y="2076450"/>
                  </a:lnTo>
                  <a:lnTo>
                    <a:pt x="1543050" y="1987550"/>
                  </a:lnTo>
                  <a:lnTo>
                    <a:pt x="1701800" y="1930400"/>
                  </a:lnTo>
                  <a:lnTo>
                    <a:pt x="1543050" y="1784350"/>
                  </a:lnTo>
                  <a:lnTo>
                    <a:pt x="1568450" y="1682750"/>
                  </a:lnTo>
                  <a:lnTo>
                    <a:pt x="1517650" y="1568450"/>
                  </a:lnTo>
                  <a:lnTo>
                    <a:pt x="1625600" y="1524000"/>
                  </a:lnTo>
                  <a:lnTo>
                    <a:pt x="1682750" y="1416050"/>
                  </a:lnTo>
                  <a:lnTo>
                    <a:pt x="1860550" y="1390650"/>
                  </a:lnTo>
                  <a:lnTo>
                    <a:pt x="1854200" y="1308100"/>
                  </a:lnTo>
                  <a:lnTo>
                    <a:pt x="1924050" y="1225550"/>
                  </a:lnTo>
                  <a:lnTo>
                    <a:pt x="1911350" y="1136650"/>
                  </a:lnTo>
                  <a:lnTo>
                    <a:pt x="1924050" y="1060450"/>
                  </a:lnTo>
                  <a:lnTo>
                    <a:pt x="1860550" y="1111250"/>
                  </a:lnTo>
                  <a:lnTo>
                    <a:pt x="1778000" y="1104900"/>
                  </a:lnTo>
                  <a:lnTo>
                    <a:pt x="1701800" y="1187450"/>
                  </a:lnTo>
                  <a:lnTo>
                    <a:pt x="1625600" y="1162050"/>
                  </a:lnTo>
                  <a:lnTo>
                    <a:pt x="1524000" y="1181100"/>
                  </a:lnTo>
                  <a:lnTo>
                    <a:pt x="1574800" y="1066800"/>
                  </a:lnTo>
                  <a:lnTo>
                    <a:pt x="1562100" y="958850"/>
                  </a:lnTo>
                  <a:lnTo>
                    <a:pt x="1625600" y="908050"/>
                  </a:lnTo>
                  <a:lnTo>
                    <a:pt x="1625600" y="908050"/>
                  </a:lnTo>
                  <a:lnTo>
                    <a:pt x="1568450" y="819150"/>
                  </a:lnTo>
                  <a:lnTo>
                    <a:pt x="1568450" y="736600"/>
                  </a:lnTo>
                  <a:lnTo>
                    <a:pt x="1485900" y="635000"/>
                  </a:lnTo>
                  <a:lnTo>
                    <a:pt x="1416050" y="635000"/>
                  </a:lnTo>
                  <a:lnTo>
                    <a:pt x="1365250" y="685800"/>
                  </a:lnTo>
                  <a:lnTo>
                    <a:pt x="1346200" y="793750"/>
                  </a:lnTo>
                  <a:lnTo>
                    <a:pt x="1263650" y="800100"/>
                  </a:lnTo>
                  <a:lnTo>
                    <a:pt x="1193800" y="844550"/>
                  </a:lnTo>
                  <a:lnTo>
                    <a:pt x="1143000" y="819150"/>
                  </a:lnTo>
                  <a:lnTo>
                    <a:pt x="1206500" y="730250"/>
                  </a:lnTo>
                  <a:lnTo>
                    <a:pt x="1212850" y="666750"/>
                  </a:lnTo>
                  <a:lnTo>
                    <a:pt x="1168400" y="609600"/>
                  </a:lnTo>
                  <a:lnTo>
                    <a:pt x="1149350" y="546100"/>
                  </a:lnTo>
                  <a:lnTo>
                    <a:pt x="1149350" y="533400"/>
                  </a:lnTo>
                  <a:cubicBezTo>
                    <a:pt x="1135808" y="497287"/>
                    <a:pt x="1123950" y="476750"/>
                    <a:pt x="1123950" y="438150"/>
                  </a:cubicBezTo>
                  <a:cubicBezTo>
                    <a:pt x="1123950" y="433417"/>
                    <a:pt x="1128183" y="429683"/>
                    <a:pt x="1130300" y="425450"/>
                  </a:cubicBezTo>
                  <a:lnTo>
                    <a:pt x="1130300" y="425450"/>
                  </a:lnTo>
                  <a:lnTo>
                    <a:pt x="1130300" y="425450"/>
                  </a:lnTo>
                  <a:lnTo>
                    <a:pt x="1098550" y="476250"/>
                  </a:lnTo>
                  <a:lnTo>
                    <a:pt x="1085850" y="412750"/>
                  </a:lnTo>
                  <a:lnTo>
                    <a:pt x="1047750" y="349250"/>
                  </a:lnTo>
                  <a:lnTo>
                    <a:pt x="977900" y="419100"/>
                  </a:lnTo>
                  <a:lnTo>
                    <a:pt x="920750" y="463550"/>
                  </a:lnTo>
                  <a:lnTo>
                    <a:pt x="920750" y="463550"/>
                  </a:lnTo>
                  <a:lnTo>
                    <a:pt x="920750" y="463550"/>
                  </a:lnTo>
                  <a:lnTo>
                    <a:pt x="908050" y="508000"/>
                  </a:lnTo>
                  <a:lnTo>
                    <a:pt x="819150" y="488950"/>
                  </a:lnTo>
                  <a:lnTo>
                    <a:pt x="806450" y="412750"/>
                  </a:lnTo>
                  <a:lnTo>
                    <a:pt x="781050" y="368300"/>
                  </a:lnTo>
                  <a:lnTo>
                    <a:pt x="723900" y="374650"/>
                  </a:lnTo>
                  <a:lnTo>
                    <a:pt x="692150" y="292100"/>
                  </a:lnTo>
                  <a:lnTo>
                    <a:pt x="736600" y="209550"/>
                  </a:lnTo>
                  <a:lnTo>
                    <a:pt x="660400" y="203200"/>
                  </a:lnTo>
                  <a:lnTo>
                    <a:pt x="609600" y="146050"/>
                  </a:lnTo>
                  <a:lnTo>
                    <a:pt x="590550" y="57150"/>
                  </a:lnTo>
                  <a:lnTo>
                    <a:pt x="520700" y="50800"/>
                  </a:lnTo>
                  <a:lnTo>
                    <a:pt x="425450" y="0"/>
                  </a:lnTo>
                  <a:lnTo>
                    <a:pt x="393700" y="38100"/>
                  </a:lnTo>
                  <a:lnTo>
                    <a:pt x="412750" y="107950"/>
                  </a:lnTo>
                  <a:lnTo>
                    <a:pt x="387350" y="222250"/>
                  </a:lnTo>
                  <a:lnTo>
                    <a:pt x="400050" y="260350"/>
                  </a:lnTo>
                  <a:lnTo>
                    <a:pt x="355600" y="292100"/>
                  </a:lnTo>
                  <a:lnTo>
                    <a:pt x="190500" y="311150"/>
                  </a:lnTo>
                  <a:lnTo>
                    <a:pt x="190500" y="368300"/>
                  </a:lnTo>
                  <a:lnTo>
                    <a:pt x="228600" y="412750"/>
                  </a:lnTo>
                  <a:lnTo>
                    <a:pt x="254000" y="457200"/>
                  </a:lnTo>
                  <a:lnTo>
                    <a:pt x="323850" y="488950"/>
                  </a:lnTo>
                  <a:lnTo>
                    <a:pt x="349250" y="546100"/>
                  </a:lnTo>
                  <a:lnTo>
                    <a:pt x="260350" y="666750"/>
                  </a:lnTo>
                  <a:lnTo>
                    <a:pt x="209550" y="812800"/>
                  </a:lnTo>
                  <a:lnTo>
                    <a:pt x="177800" y="920750"/>
                  </a:lnTo>
                  <a:lnTo>
                    <a:pt x="209550" y="971550"/>
                  </a:lnTo>
                  <a:lnTo>
                    <a:pt x="203200" y="1022350"/>
                  </a:lnTo>
                  <a:lnTo>
                    <a:pt x="228600" y="1092200"/>
                  </a:lnTo>
                  <a:lnTo>
                    <a:pt x="215900" y="1155700"/>
                  </a:lnTo>
                  <a:lnTo>
                    <a:pt x="152400" y="1149350"/>
                  </a:lnTo>
                  <a:lnTo>
                    <a:pt x="82550" y="1111250"/>
                  </a:lnTo>
                  <a:lnTo>
                    <a:pt x="152400" y="1206500"/>
                  </a:lnTo>
                  <a:lnTo>
                    <a:pt x="25400" y="1206500"/>
                  </a:lnTo>
                  <a:lnTo>
                    <a:pt x="101600" y="1270000"/>
                  </a:lnTo>
                  <a:lnTo>
                    <a:pt x="133350" y="1301750"/>
                  </a:lnTo>
                  <a:lnTo>
                    <a:pt x="114300" y="1358900"/>
                  </a:lnTo>
                  <a:lnTo>
                    <a:pt x="139700" y="1403350"/>
                  </a:lnTo>
                  <a:lnTo>
                    <a:pt x="209550" y="1390650"/>
                  </a:lnTo>
                  <a:lnTo>
                    <a:pt x="260350" y="1670050"/>
                  </a:lnTo>
                  <a:lnTo>
                    <a:pt x="260350" y="1670050"/>
                  </a:lnTo>
                  <a:lnTo>
                    <a:pt x="209550" y="1695450"/>
                  </a:lnTo>
                  <a:lnTo>
                    <a:pt x="234950" y="1739900"/>
                  </a:lnTo>
                  <a:lnTo>
                    <a:pt x="234950" y="1739900"/>
                  </a:lnTo>
                  <a:lnTo>
                    <a:pt x="234950" y="1752600"/>
                  </a:lnTo>
                  <a:cubicBezTo>
                    <a:pt x="218017" y="1758950"/>
                    <a:pt x="199197" y="1761618"/>
                    <a:pt x="184150" y="1771650"/>
                  </a:cubicBezTo>
                  <a:cubicBezTo>
                    <a:pt x="178581" y="1775363"/>
                    <a:pt x="181981" y="1785473"/>
                    <a:pt x="177800" y="1790700"/>
                  </a:cubicBezTo>
                  <a:cubicBezTo>
                    <a:pt x="168848" y="1801891"/>
                    <a:pt x="152249" y="1805567"/>
                    <a:pt x="139700" y="1809750"/>
                  </a:cubicBezTo>
                  <a:lnTo>
                    <a:pt x="133350" y="1828800"/>
                  </a:lnTo>
                  <a:lnTo>
                    <a:pt x="107950" y="1917700"/>
                  </a:lnTo>
                  <a:lnTo>
                    <a:pt x="82550" y="1955800"/>
                  </a:lnTo>
                  <a:lnTo>
                    <a:pt x="6350" y="1917700"/>
                  </a:lnTo>
                  <a:lnTo>
                    <a:pt x="0" y="2038350"/>
                  </a:lnTo>
                  <a:close/>
                </a:path>
              </a:pathLst>
            </a:custGeom>
            <a:solidFill>
              <a:srgbClr val="C1BB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k-SK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   </a:t>
              </a:r>
            </a:p>
            <a:p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     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Voľná forma 23">
              <a:extLst>
                <a:ext uri="{FF2B5EF4-FFF2-40B4-BE49-F238E27FC236}">
                  <a16:creationId xmlns:a16="http://schemas.microsoft.com/office/drawing/2014/main" id="{B5FE4AC3-4449-4C90-98BA-8A243A8B6A6D}"/>
                </a:ext>
              </a:extLst>
            </p:cNvPr>
            <p:cNvSpPr/>
            <p:nvPr/>
          </p:nvSpPr>
          <p:spPr>
            <a:xfrm>
              <a:off x="2774950" y="2628900"/>
              <a:ext cx="2851150" cy="1903412"/>
            </a:xfrm>
            <a:custGeom>
              <a:avLst/>
              <a:gdLst>
                <a:gd name="connsiteX0" fmla="*/ 755650 w 2851150"/>
                <a:gd name="connsiteY0" fmla="*/ 1898650 h 1898650"/>
                <a:gd name="connsiteX1" fmla="*/ 755650 w 2851150"/>
                <a:gd name="connsiteY1" fmla="*/ 1898650 h 1898650"/>
                <a:gd name="connsiteX2" fmla="*/ 908050 w 2851150"/>
                <a:gd name="connsiteY2" fmla="*/ 1892300 h 1898650"/>
                <a:gd name="connsiteX3" fmla="*/ 990600 w 2851150"/>
                <a:gd name="connsiteY3" fmla="*/ 1885950 h 1898650"/>
                <a:gd name="connsiteX4" fmla="*/ 1104900 w 2851150"/>
                <a:gd name="connsiteY4" fmla="*/ 1892300 h 1898650"/>
                <a:gd name="connsiteX5" fmla="*/ 1117600 w 2851150"/>
                <a:gd name="connsiteY5" fmla="*/ 1892300 h 1898650"/>
                <a:gd name="connsiteX6" fmla="*/ 1276350 w 2851150"/>
                <a:gd name="connsiteY6" fmla="*/ 1828800 h 1898650"/>
                <a:gd name="connsiteX7" fmla="*/ 1504950 w 2851150"/>
                <a:gd name="connsiteY7" fmla="*/ 1835150 h 1898650"/>
                <a:gd name="connsiteX8" fmla="*/ 1543050 w 2851150"/>
                <a:gd name="connsiteY8" fmla="*/ 1568450 h 1898650"/>
                <a:gd name="connsiteX9" fmla="*/ 1689100 w 2851150"/>
                <a:gd name="connsiteY9" fmla="*/ 1517650 h 1898650"/>
                <a:gd name="connsiteX10" fmla="*/ 1797050 w 2851150"/>
                <a:gd name="connsiteY10" fmla="*/ 1587500 h 1898650"/>
                <a:gd name="connsiteX11" fmla="*/ 1905000 w 2851150"/>
                <a:gd name="connsiteY11" fmla="*/ 1587500 h 1898650"/>
                <a:gd name="connsiteX12" fmla="*/ 1924050 w 2851150"/>
                <a:gd name="connsiteY12" fmla="*/ 1689100 h 1898650"/>
                <a:gd name="connsiteX13" fmla="*/ 2057400 w 2851150"/>
                <a:gd name="connsiteY13" fmla="*/ 1670050 h 1898650"/>
                <a:gd name="connsiteX14" fmla="*/ 2057400 w 2851150"/>
                <a:gd name="connsiteY14" fmla="*/ 1765300 h 1898650"/>
                <a:gd name="connsiteX15" fmla="*/ 2146300 w 2851150"/>
                <a:gd name="connsiteY15" fmla="*/ 1752600 h 1898650"/>
                <a:gd name="connsiteX16" fmla="*/ 2184400 w 2851150"/>
                <a:gd name="connsiteY16" fmla="*/ 1631950 h 1898650"/>
                <a:gd name="connsiteX17" fmla="*/ 2305050 w 2851150"/>
                <a:gd name="connsiteY17" fmla="*/ 1619250 h 1898650"/>
                <a:gd name="connsiteX18" fmla="*/ 2381250 w 2851150"/>
                <a:gd name="connsiteY18" fmla="*/ 1543050 h 1898650"/>
                <a:gd name="connsiteX19" fmla="*/ 2393950 w 2851150"/>
                <a:gd name="connsiteY19" fmla="*/ 1454150 h 1898650"/>
                <a:gd name="connsiteX20" fmla="*/ 2470150 w 2851150"/>
                <a:gd name="connsiteY20" fmla="*/ 1460500 h 1898650"/>
                <a:gd name="connsiteX21" fmla="*/ 2552700 w 2851150"/>
                <a:gd name="connsiteY21" fmla="*/ 1377950 h 1898650"/>
                <a:gd name="connsiteX22" fmla="*/ 2660650 w 2851150"/>
                <a:gd name="connsiteY22" fmla="*/ 1447800 h 1898650"/>
                <a:gd name="connsiteX23" fmla="*/ 2787650 w 2851150"/>
                <a:gd name="connsiteY23" fmla="*/ 1257300 h 1898650"/>
                <a:gd name="connsiteX24" fmla="*/ 2806700 w 2851150"/>
                <a:gd name="connsiteY24" fmla="*/ 1079500 h 1898650"/>
                <a:gd name="connsiteX25" fmla="*/ 2851150 w 2851150"/>
                <a:gd name="connsiteY25" fmla="*/ 958850 h 1898650"/>
                <a:gd name="connsiteX26" fmla="*/ 2730500 w 2851150"/>
                <a:gd name="connsiteY26" fmla="*/ 952500 h 1898650"/>
                <a:gd name="connsiteX27" fmla="*/ 2667000 w 2851150"/>
                <a:gd name="connsiteY27" fmla="*/ 1009650 h 1898650"/>
                <a:gd name="connsiteX28" fmla="*/ 2578100 w 2851150"/>
                <a:gd name="connsiteY28" fmla="*/ 965200 h 1898650"/>
                <a:gd name="connsiteX29" fmla="*/ 2578100 w 2851150"/>
                <a:gd name="connsiteY29" fmla="*/ 800100 h 1898650"/>
                <a:gd name="connsiteX30" fmla="*/ 2635250 w 2851150"/>
                <a:gd name="connsiteY30" fmla="*/ 711200 h 1898650"/>
                <a:gd name="connsiteX31" fmla="*/ 2546350 w 2851150"/>
                <a:gd name="connsiteY31" fmla="*/ 660400 h 1898650"/>
                <a:gd name="connsiteX32" fmla="*/ 2540000 w 2851150"/>
                <a:gd name="connsiteY32" fmla="*/ 552450 h 1898650"/>
                <a:gd name="connsiteX33" fmla="*/ 2482850 w 2851150"/>
                <a:gd name="connsiteY33" fmla="*/ 501650 h 1898650"/>
                <a:gd name="connsiteX34" fmla="*/ 2482850 w 2851150"/>
                <a:gd name="connsiteY34" fmla="*/ 457200 h 1898650"/>
                <a:gd name="connsiteX35" fmla="*/ 2400300 w 2851150"/>
                <a:gd name="connsiteY35" fmla="*/ 457200 h 1898650"/>
                <a:gd name="connsiteX36" fmla="*/ 2387600 w 2851150"/>
                <a:gd name="connsiteY36" fmla="*/ 254000 h 1898650"/>
                <a:gd name="connsiteX37" fmla="*/ 2482850 w 2851150"/>
                <a:gd name="connsiteY37" fmla="*/ 209550 h 1898650"/>
                <a:gd name="connsiteX38" fmla="*/ 2463800 w 2851150"/>
                <a:gd name="connsiteY38" fmla="*/ 107950 h 1898650"/>
                <a:gd name="connsiteX39" fmla="*/ 2400300 w 2851150"/>
                <a:gd name="connsiteY39" fmla="*/ 69850 h 1898650"/>
                <a:gd name="connsiteX40" fmla="*/ 2254250 w 2851150"/>
                <a:gd name="connsiteY40" fmla="*/ 95250 h 1898650"/>
                <a:gd name="connsiteX41" fmla="*/ 2139950 w 2851150"/>
                <a:gd name="connsiteY41" fmla="*/ 82550 h 1898650"/>
                <a:gd name="connsiteX42" fmla="*/ 2089150 w 2851150"/>
                <a:gd name="connsiteY42" fmla="*/ 63500 h 1898650"/>
                <a:gd name="connsiteX43" fmla="*/ 1981200 w 2851150"/>
                <a:gd name="connsiteY43" fmla="*/ 76200 h 1898650"/>
                <a:gd name="connsiteX44" fmla="*/ 1860550 w 2851150"/>
                <a:gd name="connsiteY44" fmla="*/ 38100 h 1898650"/>
                <a:gd name="connsiteX45" fmla="*/ 1746250 w 2851150"/>
                <a:gd name="connsiteY45" fmla="*/ 88900 h 1898650"/>
                <a:gd name="connsiteX46" fmla="*/ 1670050 w 2851150"/>
                <a:gd name="connsiteY46" fmla="*/ 38100 h 1898650"/>
                <a:gd name="connsiteX47" fmla="*/ 1612900 w 2851150"/>
                <a:gd name="connsiteY47" fmla="*/ 38100 h 1898650"/>
                <a:gd name="connsiteX48" fmla="*/ 1555750 w 2851150"/>
                <a:gd name="connsiteY48" fmla="*/ 0 h 1898650"/>
                <a:gd name="connsiteX49" fmla="*/ 1384300 w 2851150"/>
                <a:gd name="connsiteY49" fmla="*/ 19050 h 1898650"/>
                <a:gd name="connsiteX50" fmla="*/ 1231900 w 2851150"/>
                <a:gd name="connsiteY50" fmla="*/ 50800 h 1898650"/>
                <a:gd name="connsiteX51" fmla="*/ 1149350 w 2851150"/>
                <a:gd name="connsiteY51" fmla="*/ 165100 h 1898650"/>
                <a:gd name="connsiteX52" fmla="*/ 1073150 w 2851150"/>
                <a:gd name="connsiteY52" fmla="*/ 203200 h 1898650"/>
                <a:gd name="connsiteX53" fmla="*/ 1054100 w 2851150"/>
                <a:gd name="connsiteY53" fmla="*/ 114300 h 1898650"/>
                <a:gd name="connsiteX54" fmla="*/ 889000 w 2851150"/>
                <a:gd name="connsiteY54" fmla="*/ 158750 h 1898650"/>
                <a:gd name="connsiteX55" fmla="*/ 800100 w 2851150"/>
                <a:gd name="connsiteY55" fmla="*/ 120650 h 1898650"/>
                <a:gd name="connsiteX56" fmla="*/ 692150 w 2851150"/>
                <a:gd name="connsiteY56" fmla="*/ 209550 h 1898650"/>
                <a:gd name="connsiteX57" fmla="*/ 730250 w 2851150"/>
                <a:gd name="connsiteY57" fmla="*/ 260350 h 1898650"/>
                <a:gd name="connsiteX58" fmla="*/ 685800 w 2851150"/>
                <a:gd name="connsiteY58" fmla="*/ 304800 h 1898650"/>
                <a:gd name="connsiteX59" fmla="*/ 736600 w 2851150"/>
                <a:gd name="connsiteY59" fmla="*/ 400050 h 1898650"/>
                <a:gd name="connsiteX60" fmla="*/ 590550 w 2851150"/>
                <a:gd name="connsiteY60" fmla="*/ 450850 h 1898650"/>
                <a:gd name="connsiteX61" fmla="*/ 508000 w 2851150"/>
                <a:gd name="connsiteY61" fmla="*/ 368300 h 1898650"/>
                <a:gd name="connsiteX62" fmla="*/ 463550 w 2851150"/>
                <a:gd name="connsiteY62" fmla="*/ 419100 h 1898650"/>
                <a:gd name="connsiteX63" fmla="*/ 469900 w 2851150"/>
                <a:gd name="connsiteY63" fmla="*/ 457200 h 1898650"/>
                <a:gd name="connsiteX64" fmla="*/ 400050 w 2851150"/>
                <a:gd name="connsiteY64" fmla="*/ 577850 h 1898650"/>
                <a:gd name="connsiteX65" fmla="*/ 342900 w 2851150"/>
                <a:gd name="connsiteY65" fmla="*/ 577850 h 1898650"/>
                <a:gd name="connsiteX66" fmla="*/ 317500 w 2851150"/>
                <a:gd name="connsiteY66" fmla="*/ 717550 h 1898650"/>
                <a:gd name="connsiteX67" fmla="*/ 247650 w 2851150"/>
                <a:gd name="connsiteY67" fmla="*/ 692150 h 1898650"/>
                <a:gd name="connsiteX68" fmla="*/ 152400 w 2851150"/>
                <a:gd name="connsiteY68" fmla="*/ 825500 h 1898650"/>
                <a:gd name="connsiteX69" fmla="*/ 0 w 2851150"/>
                <a:gd name="connsiteY69" fmla="*/ 838200 h 1898650"/>
                <a:gd name="connsiteX70" fmla="*/ 0 w 2851150"/>
                <a:gd name="connsiteY70" fmla="*/ 971550 h 1898650"/>
                <a:gd name="connsiteX71" fmla="*/ 38100 w 2851150"/>
                <a:gd name="connsiteY71" fmla="*/ 933450 h 1898650"/>
                <a:gd name="connsiteX72" fmla="*/ 63500 w 2851150"/>
                <a:gd name="connsiteY72" fmla="*/ 1130300 h 1898650"/>
                <a:gd name="connsiteX73" fmla="*/ 114300 w 2851150"/>
                <a:gd name="connsiteY73" fmla="*/ 1174750 h 1898650"/>
                <a:gd name="connsiteX74" fmla="*/ 107950 w 2851150"/>
                <a:gd name="connsiteY74" fmla="*/ 1244600 h 1898650"/>
                <a:gd name="connsiteX75" fmla="*/ 50800 w 2851150"/>
                <a:gd name="connsiteY75" fmla="*/ 1333500 h 1898650"/>
                <a:gd name="connsiteX76" fmla="*/ 95250 w 2851150"/>
                <a:gd name="connsiteY76" fmla="*/ 1358900 h 1898650"/>
                <a:gd name="connsiteX77" fmla="*/ 158750 w 2851150"/>
                <a:gd name="connsiteY77" fmla="*/ 1314450 h 1898650"/>
                <a:gd name="connsiteX78" fmla="*/ 247650 w 2851150"/>
                <a:gd name="connsiteY78" fmla="*/ 1308100 h 1898650"/>
                <a:gd name="connsiteX79" fmla="*/ 266700 w 2851150"/>
                <a:gd name="connsiteY79" fmla="*/ 1206500 h 1898650"/>
                <a:gd name="connsiteX80" fmla="*/ 317500 w 2851150"/>
                <a:gd name="connsiteY80" fmla="*/ 1149350 h 1898650"/>
                <a:gd name="connsiteX81" fmla="*/ 387350 w 2851150"/>
                <a:gd name="connsiteY81" fmla="*/ 1149350 h 1898650"/>
                <a:gd name="connsiteX82" fmla="*/ 463550 w 2851150"/>
                <a:gd name="connsiteY82" fmla="*/ 1250950 h 1898650"/>
                <a:gd name="connsiteX83" fmla="*/ 463550 w 2851150"/>
                <a:gd name="connsiteY83" fmla="*/ 1346200 h 1898650"/>
                <a:gd name="connsiteX84" fmla="*/ 527050 w 2851150"/>
                <a:gd name="connsiteY84" fmla="*/ 1416050 h 1898650"/>
                <a:gd name="connsiteX85" fmla="*/ 463550 w 2851150"/>
                <a:gd name="connsiteY85" fmla="*/ 1479550 h 1898650"/>
                <a:gd name="connsiteX86" fmla="*/ 476250 w 2851150"/>
                <a:gd name="connsiteY86" fmla="*/ 1587500 h 1898650"/>
                <a:gd name="connsiteX87" fmla="*/ 431800 w 2851150"/>
                <a:gd name="connsiteY87" fmla="*/ 1695450 h 1898650"/>
                <a:gd name="connsiteX88" fmla="*/ 527050 w 2851150"/>
                <a:gd name="connsiteY88" fmla="*/ 1670050 h 1898650"/>
                <a:gd name="connsiteX89" fmla="*/ 609600 w 2851150"/>
                <a:gd name="connsiteY89" fmla="*/ 1708150 h 1898650"/>
                <a:gd name="connsiteX90" fmla="*/ 685800 w 2851150"/>
                <a:gd name="connsiteY90" fmla="*/ 1612900 h 1898650"/>
                <a:gd name="connsiteX91" fmla="*/ 774700 w 2851150"/>
                <a:gd name="connsiteY91" fmla="*/ 1625600 h 1898650"/>
                <a:gd name="connsiteX92" fmla="*/ 825500 w 2851150"/>
                <a:gd name="connsiteY92" fmla="*/ 1574800 h 1898650"/>
                <a:gd name="connsiteX93" fmla="*/ 812800 w 2851150"/>
                <a:gd name="connsiteY93" fmla="*/ 1657350 h 1898650"/>
                <a:gd name="connsiteX94" fmla="*/ 831850 w 2851150"/>
                <a:gd name="connsiteY94" fmla="*/ 1752600 h 1898650"/>
                <a:gd name="connsiteX95" fmla="*/ 749300 w 2851150"/>
                <a:gd name="connsiteY95" fmla="*/ 1828800 h 1898650"/>
                <a:gd name="connsiteX96" fmla="*/ 755650 w 2851150"/>
                <a:gd name="connsiteY96" fmla="*/ 1898650 h 1898650"/>
                <a:gd name="connsiteX0" fmla="*/ 755650 w 2851150"/>
                <a:gd name="connsiteY0" fmla="*/ 1898650 h 1898650"/>
                <a:gd name="connsiteX1" fmla="*/ 755650 w 2851150"/>
                <a:gd name="connsiteY1" fmla="*/ 1898650 h 1898650"/>
                <a:gd name="connsiteX2" fmla="*/ 908050 w 2851150"/>
                <a:gd name="connsiteY2" fmla="*/ 1892300 h 1898650"/>
                <a:gd name="connsiteX3" fmla="*/ 990600 w 2851150"/>
                <a:gd name="connsiteY3" fmla="*/ 1885950 h 1898650"/>
                <a:gd name="connsiteX4" fmla="*/ 1104900 w 2851150"/>
                <a:gd name="connsiteY4" fmla="*/ 1892300 h 1898650"/>
                <a:gd name="connsiteX5" fmla="*/ 1117600 w 2851150"/>
                <a:gd name="connsiteY5" fmla="*/ 1892300 h 1898650"/>
                <a:gd name="connsiteX6" fmla="*/ 1276350 w 2851150"/>
                <a:gd name="connsiteY6" fmla="*/ 1828800 h 1898650"/>
                <a:gd name="connsiteX7" fmla="*/ 1504950 w 2851150"/>
                <a:gd name="connsiteY7" fmla="*/ 1835150 h 1898650"/>
                <a:gd name="connsiteX8" fmla="*/ 1543050 w 2851150"/>
                <a:gd name="connsiteY8" fmla="*/ 1568450 h 1898650"/>
                <a:gd name="connsiteX9" fmla="*/ 1689100 w 2851150"/>
                <a:gd name="connsiteY9" fmla="*/ 1517650 h 1898650"/>
                <a:gd name="connsiteX10" fmla="*/ 1797050 w 2851150"/>
                <a:gd name="connsiteY10" fmla="*/ 1587500 h 1898650"/>
                <a:gd name="connsiteX11" fmla="*/ 1905000 w 2851150"/>
                <a:gd name="connsiteY11" fmla="*/ 1587500 h 1898650"/>
                <a:gd name="connsiteX12" fmla="*/ 1924050 w 2851150"/>
                <a:gd name="connsiteY12" fmla="*/ 1689100 h 1898650"/>
                <a:gd name="connsiteX13" fmla="*/ 2057400 w 2851150"/>
                <a:gd name="connsiteY13" fmla="*/ 1670050 h 1898650"/>
                <a:gd name="connsiteX14" fmla="*/ 2057400 w 2851150"/>
                <a:gd name="connsiteY14" fmla="*/ 1765300 h 1898650"/>
                <a:gd name="connsiteX15" fmla="*/ 2146300 w 2851150"/>
                <a:gd name="connsiteY15" fmla="*/ 1752600 h 1898650"/>
                <a:gd name="connsiteX16" fmla="*/ 2184400 w 2851150"/>
                <a:gd name="connsiteY16" fmla="*/ 1631950 h 1898650"/>
                <a:gd name="connsiteX17" fmla="*/ 2305050 w 2851150"/>
                <a:gd name="connsiteY17" fmla="*/ 1619250 h 1898650"/>
                <a:gd name="connsiteX18" fmla="*/ 2381250 w 2851150"/>
                <a:gd name="connsiteY18" fmla="*/ 1543050 h 1898650"/>
                <a:gd name="connsiteX19" fmla="*/ 2393950 w 2851150"/>
                <a:gd name="connsiteY19" fmla="*/ 1454150 h 1898650"/>
                <a:gd name="connsiteX20" fmla="*/ 2470150 w 2851150"/>
                <a:gd name="connsiteY20" fmla="*/ 1460500 h 1898650"/>
                <a:gd name="connsiteX21" fmla="*/ 2552700 w 2851150"/>
                <a:gd name="connsiteY21" fmla="*/ 1377950 h 1898650"/>
                <a:gd name="connsiteX22" fmla="*/ 2660650 w 2851150"/>
                <a:gd name="connsiteY22" fmla="*/ 1447800 h 1898650"/>
                <a:gd name="connsiteX23" fmla="*/ 2787650 w 2851150"/>
                <a:gd name="connsiteY23" fmla="*/ 1257300 h 1898650"/>
                <a:gd name="connsiteX24" fmla="*/ 2806700 w 2851150"/>
                <a:gd name="connsiteY24" fmla="*/ 1079500 h 1898650"/>
                <a:gd name="connsiteX25" fmla="*/ 2851150 w 2851150"/>
                <a:gd name="connsiteY25" fmla="*/ 958850 h 1898650"/>
                <a:gd name="connsiteX26" fmla="*/ 2730500 w 2851150"/>
                <a:gd name="connsiteY26" fmla="*/ 952500 h 1898650"/>
                <a:gd name="connsiteX27" fmla="*/ 2667000 w 2851150"/>
                <a:gd name="connsiteY27" fmla="*/ 1009650 h 1898650"/>
                <a:gd name="connsiteX28" fmla="*/ 2578100 w 2851150"/>
                <a:gd name="connsiteY28" fmla="*/ 965200 h 1898650"/>
                <a:gd name="connsiteX29" fmla="*/ 2578100 w 2851150"/>
                <a:gd name="connsiteY29" fmla="*/ 800100 h 1898650"/>
                <a:gd name="connsiteX30" fmla="*/ 2635250 w 2851150"/>
                <a:gd name="connsiteY30" fmla="*/ 711200 h 1898650"/>
                <a:gd name="connsiteX31" fmla="*/ 2546350 w 2851150"/>
                <a:gd name="connsiteY31" fmla="*/ 660400 h 1898650"/>
                <a:gd name="connsiteX32" fmla="*/ 2540000 w 2851150"/>
                <a:gd name="connsiteY32" fmla="*/ 552450 h 1898650"/>
                <a:gd name="connsiteX33" fmla="*/ 2482850 w 2851150"/>
                <a:gd name="connsiteY33" fmla="*/ 501650 h 1898650"/>
                <a:gd name="connsiteX34" fmla="*/ 2482850 w 2851150"/>
                <a:gd name="connsiteY34" fmla="*/ 457200 h 1898650"/>
                <a:gd name="connsiteX35" fmla="*/ 2400300 w 2851150"/>
                <a:gd name="connsiteY35" fmla="*/ 457200 h 1898650"/>
                <a:gd name="connsiteX36" fmla="*/ 2387600 w 2851150"/>
                <a:gd name="connsiteY36" fmla="*/ 254000 h 1898650"/>
                <a:gd name="connsiteX37" fmla="*/ 2482850 w 2851150"/>
                <a:gd name="connsiteY37" fmla="*/ 209550 h 1898650"/>
                <a:gd name="connsiteX38" fmla="*/ 2463800 w 2851150"/>
                <a:gd name="connsiteY38" fmla="*/ 107950 h 1898650"/>
                <a:gd name="connsiteX39" fmla="*/ 2400300 w 2851150"/>
                <a:gd name="connsiteY39" fmla="*/ 69850 h 1898650"/>
                <a:gd name="connsiteX40" fmla="*/ 2254250 w 2851150"/>
                <a:gd name="connsiteY40" fmla="*/ 95250 h 1898650"/>
                <a:gd name="connsiteX41" fmla="*/ 2139950 w 2851150"/>
                <a:gd name="connsiteY41" fmla="*/ 82550 h 1898650"/>
                <a:gd name="connsiteX42" fmla="*/ 2089150 w 2851150"/>
                <a:gd name="connsiteY42" fmla="*/ 63500 h 1898650"/>
                <a:gd name="connsiteX43" fmla="*/ 1981200 w 2851150"/>
                <a:gd name="connsiteY43" fmla="*/ 76200 h 1898650"/>
                <a:gd name="connsiteX44" fmla="*/ 1860550 w 2851150"/>
                <a:gd name="connsiteY44" fmla="*/ 38100 h 1898650"/>
                <a:gd name="connsiteX45" fmla="*/ 1746250 w 2851150"/>
                <a:gd name="connsiteY45" fmla="*/ 88900 h 1898650"/>
                <a:gd name="connsiteX46" fmla="*/ 1670050 w 2851150"/>
                <a:gd name="connsiteY46" fmla="*/ 38100 h 1898650"/>
                <a:gd name="connsiteX47" fmla="*/ 1612900 w 2851150"/>
                <a:gd name="connsiteY47" fmla="*/ 38100 h 1898650"/>
                <a:gd name="connsiteX48" fmla="*/ 1555750 w 2851150"/>
                <a:gd name="connsiteY48" fmla="*/ 0 h 1898650"/>
                <a:gd name="connsiteX49" fmla="*/ 1384300 w 2851150"/>
                <a:gd name="connsiteY49" fmla="*/ 19050 h 1898650"/>
                <a:gd name="connsiteX50" fmla="*/ 1231900 w 2851150"/>
                <a:gd name="connsiteY50" fmla="*/ 50800 h 1898650"/>
                <a:gd name="connsiteX51" fmla="*/ 1149350 w 2851150"/>
                <a:gd name="connsiteY51" fmla="*/ 165100 h 1898650"/>
                <a:gd name="connsiteX52" fmla="*/ 1073150 w 2851150"/>
                <a:gd name="connsiteY52" fmla="*/ 203200 h 1898650"/>
                <a:gd name="connsiteX53" fmla="*/ 1054100 w 2851150"/>
                <a:gd name="connsiteY53" fmla="*/ 114300 h 1898650"/>
                <a:gd name="connsiteX54" fmla="*/ 889000 w 2851150"/>
                <a:gd name="connsiteY54" fmla="*/ 158750 h 1898650"/>
                <a:gd name="connsiteX55" fmla="*/ 800100 w 2851150"/>
                <a:gd name="connsiteY55" fmla="*/ 120650 h 1898650"/>
                <a:gd name="connsiteX56" fmla="*/ 692150 w 2851150"/>
                <a:gd name="connsiteY56" fmla="*/ 209550 h 1898650"/>
                <a:gd name="connsiteX57" fmla="*/ 730250 w 2851150"/>
                <a:gd name="connsiteY57" fmla="*/ 260350 h 1898650"/>
                <a:gd name="connsiteX58" fmla="*/ 685800 w 2851150"/>
                <a:gd name="connsiteY58" fmla="*/ 304800 h 1898650"/>
                <a:gd name="connsiteX59" fmla="*/ 736600 w 2851150"/>
                <a:gd name="connsiteY59" fmla="*/ 400050 h 1898650"/>
                <a:gd name="connsiteX60" fmla="*/ 590550 w 2851150"/>
                <a:gd name="connsiteY60" fmla="*/ 450850 h 1898650"/>
                <a:gd name="connsiteX61" fmla="*/ 508000 w 2851150"/>
                <a:gd name="connsiteY61" fmla="*/ 368300 h 1898650"/>
                <a:gd name="connsiteX62" fmla="*/ 463550 w 2851150"/>
                <a:gd name="connsiteY62" fmla="*/ 419100 h 1898650"/>
                <a:gd name="connsiteX63" fmla="*/ 469900 w 2851150"/>
                <a:gd name="connsiteY63" fmla="*/ 457200 h 1898650"/>
                <a:gd name="connsiteX64" fmla="*/ 400050 w 2851150"/>
                <a:gd name="connsiteY64" fmla="*/ 577850 h 1898650"/>
                <a:gd name="connsiteX65" fmla="*/ 342900 w 2851150"/>
                <a:gd name="connsiteY65" fmla="*/ 577850 h 1898650"/>
                <a:gd name="connsiteX66" fmla="*/ 317500 w 2851150"/>
                <a:gd name="connsiteY66" fmla="*/ 717550 h 1898650"/>
                <a:gd name="connsiteX67" fmla="*/ 247650 w 2851150"/>
                <a:gd name="connsiteY67" fmla="*/ 692150 h 1898650"/>
                <a:gd name="connsiteX68" fmla="*/ 152400 w 2851150"/>
                <a:gd name="connsiteY68" fmla="*/ 825500 h 1898650"/>
                <a:gd name="connsiteX69" fmla="*/ 0 w 2851150"/>
                <a:gd name="connsiteY69" fmla="*/ 838200 h 1898650"/>
                <a:gd name="connsiteX70" fmla="*/ 0 w 2851150"/>
                <a:gd name="connsiteY70" fmla="*/ 971550 h 1898650"/>
                <a:gd name="connsiteX71" fmla="*/ 19050 w 2851150"/>
                <a:gd name="connsiteY71" fmla="*/ 959643 h 1898650"/>
                <a:gd name="connsiteX72" fmla="*/ 63500 w 2851150"/>
                <a:gd name="connsiteY72" fmla="*/ 1130300 h 1898650"/>
                <a:gd name="connsiteX73" fmla="*/ 114300 w 2851150"/>
                <a:gd name="connsiteY73" fmla="*/ 1174750 h 1898650"/>
                <a:gd name="connsiteX74" fmla="*/ 107950 w 2851150"/>
                <a:gd name="connsiteY74" fmla="*/ 1244600 h 1898650"/>
                <a:gd name="connsiteX75" fmla="*/ 50800 w 2851150"/>
                <a:gd name="connsiteY75" fmla="*/ 1333500 h 1898650"/>
                <a:gd name="connsiteX76" fmla="*/ 95250 w 2851150"/>
                <a:gd name="connsiteY76" fmla="*/ 1358900 h 1898650"/>
                <a:gd name="connsiteX77" fmla="*/ 158750 w 2851150"/>
                <a:gd name="connsiteY77" fmla="*/ 1314450 h 1898650"/>
                <a:gd name="connsiteX78" fmla="*/ 247650 w 2851150"/>
                <a:gd name="connsiteY78" fmla="*/ 1308100 h 1898650"/>
                <a:gd name="connsiteX79" fmla="*/ 266700 w 2851150"/>
                <a:gd name="connsiteY79" fmla="*/ 1206500 h 1898650"/>
                <a:gd name="connsiteX80" fmla="*/ 317500 w 2851150"/>
                <a:gd name="connsiteY80" fmla="*/ 1149350 h 1898650"/>
                <a:gd name="connsiteX81" fmla="*/ 387350 w 2851150"/>
                <a:gd name="connsiteY81" fmla="*/ 1149350 h 1898650"/>
                <a:gd name="connsiteX82" fmla="*/ 463550 w 2851150"/>
                <a:gd name="connsiteY82" fmla="*/ 1250950 h 1898650"/>
                <a:gd name="connsiteX83" fmla="*/ 463550 w 2851150"/>
                <a:gd name="connsiteY83" fmla="*/ 1346200 h 1898650"/>
                <a:gd name="connsiteX84" fmla="*/ 527050 w 2851150"/>
                <a:gd name="connsiteY84" fmla="*/ 1416050 h 1898650"/>
                <a:gd name="connsiteX85" fmla="*/ 463550 w 2851150"/>
                <a:gd name="connsiteY85" fmla="*/ 1479550 h 1898650"/>
                <a:gd name="connsiteX86" fmla="*/ 476250 w 2851150"/>
                <a:gd name="connsiteY86" fmla="*/ 1587500 h 1898650"/>
                <a:gd name="connsiteX87" fmla="*/ 431800 w 2851150"/>
                <a:gd name="connsiteY87" fmla="*/ 1695450 h 1898650"/>
                <a:gd name="connsiteX88" fmla="*/ 527050 w 2851150"/>
                <a:gd name="connsiteY88" fmla="*/ 1670050 h 1898650"/>
                <a:gd name="connsiteX89" fmla="*/ 609600 w 2851150"/>
                <a:gd name="connsiteY89" fmla="*/ 1708150 h 1898650"/>
                <a:gd name="connsiteX90" fmla="*/ 685800 w 2851150"/>
                <a:gd name="connsiteY90" fmla="*/ 1612900 h 1898650"/>
                <a:gd name="connsiteX91" fmla="*/ 774700 w 2851150"/>
                <a:gd name="connsiteY91" fmla="*/ 1625600 h 1898650"/>
                <a:gd name="connsiteX92" fmla="*/ 825500 w 2851150"/>
                <a:gd name="connsiteY92" fmla="*/ 1574800 h 1898650"/>
                <a:gd name="connsiteX93" fmla="*/ 812800 w 2851150"/>
                <a:gd name="connsiteY93" fmla="*/ 1657350 h 1898650"/>
                <a:gd name="connsiteX94" fmla="*/ 831850 w 2851150"/>
                <a:gd name="connsiteY94" fmla="*/ 1752600 h 1898650"/>
                <a:gd name="connsiteX95" fmla="*/ 749300 w 2851150"/>
                <a:gd name="connsiteY95" fmla="*/ 1828800 h 1898650"/>
                <a:gd name="connsiteX96" fmla="*/ 755650 w 2851150"/>
                <a:gd name="connsiteY96" fmla="*/ 1898650 h 1898650"/>
                <a:gd name="connsiteX0" fmla="*/ 760412 w 2851150"/>
                <a:gd name="connsiteY0" fmla="*/ 1908175 h 1908175"/>
                <a:gd name="connsiteX1" fmla="*/ 755650 w 2851150"/>
                <a:gd name="connsiteY1" fmla="*/ 1898650 h 1908175"/>
                <a:gd name="connsiteX2" fmla="*/ 908050 w 2851150"/>
                <a:gd name="connsiteY2" fmla="*/ 1892300 h 1908175"/>
                <a:gd name="connsiteX3" fmla="*/ 990600 w 2851150"/>
                <a:gd name="connsiteY3" fmla="*/ 1885950 h 1908175"/>
                <a:gd name="connsiteX4" fmla="*/ 1104900 w 2851150"/>
                <a:gd name="connsiteY4" fmla="*/ 1892300 h 1908175"/>
                <a:gd name="connsiteX5" fmla="*/ 1117600 w 2851150"/>
                <a:gd name="connsiteY5" fmla="*/ 1892300 h 1908175"/>
                <a:gd name="connsiteX6" fmla="*/ 1276350 w 2851150"/>
                <a:gd name="connsiteY6" fmla="*/ 1828800 h 1908175"/>
                <a:gd name="connsiteX7" fmla="*/ 1504950 w 2851150"/>
                <a:gd name="connsiteY7" fmla="*/ 1835150 h 1908175"/>
                <a:gd name="connsiteX8" fmla="*/ 1543050 w 2851150"/>
                <a:gd name="connsiteY8" fmla="*/ 1568450 h 1908175"/>
                <a:gd name="connsiteX9" fmla="*/ 1689100 w 2851150"/>
                <a:gd name="connsiteY9" fmla="*/ 1517650 h 1908175"/>
                <a:gd name="connsiteX10" fmla="*/ 1797050 w 2851150"/>
                <a:gd name="connsiteY10" fmla="*/ 1587500 h 1908175"/>
                <a:gd name="connsiteX11" fmla="*/ 1905000 w 2851150"/>
                <a:gd name="connsiteY11" fmla="*/ 1587500 h 1908175"/>
                <a:gd name="connsiteX12" fmla="*/ 1924050 w 2851150"/>
                <a:gd name="connsiteY12" fmla="*/ 1689100 h 1908175"/>
                <a:gd name="connsiteX13" fmla="*/ 2057400 w 2851150"/>
                <a:gd name="connsiteY13" fmla="*/ 1670050 h 1908175"/>
                <a:gd name="connsiteX14" fmla="*/ 2057400 w 2851150"/>
                <a:gd name="connsiteY14" fmla="*/ 1765300 h 1908175"/>
                <a:gd name="connsiteX15" fmla="*/ 2146300 w 2851150"/>
                <a:gd name="connsiteY15" fmla="*/ 1752600 h 1908175"/>
                <a:gd name="connsiteX16" fmla="*/ 2184400 w 2851150"/>
                <a:gd name="connsiteY16" fmla="*/ 1631950 h 1908175"/>
                <a:gd name="connsiteX17" fmla="*/ 2305050 w 2851150"/>
                <a:gd name="connsiteY17" fmla="*/ 1619250 h 1908175"/>
                <a:gd name="connsiteX18" fmla="*/ 2381250 w 2851150"/>
                <a:gd name="connsiteY18" fmla="*/ 1543050 h 1908175"/>
                <a:gd name="connsiteX19" fmla="*/ 2393950 w 2851150"/>
                <a:gd name="connsiteY19" fmla="*/ 1454150 h 1908175"/>
                <a:gd name="connsiteX20" fmla="*/ 2470150 w 2851150"/>
                <a:gd name="connsiteY20" fmla="*/ 1460500 h 1908175"/>
                <a:gd name="connsiteX21" fmla="*/ 2552700 w 2851150"/>
                <a:gd name="connsiteY21" fmla="*/ 1377950 h 1908175"/>
                <a:gd name="connsiteX22" fmla="*/ 2660650 w 2851150"/>
                <a:gd name="connsiteY22" fmla="*/ 1447800 h 1908175"/>
                <a:gd name="connsiteX23" fmla="*/ 2787650 w 2851150"/>
                <a:gd name="connsiteY23" fmla="*/ 1257300 h 1908175"/>
                <a:gd name="connsiteX24" fmla="*/ 2806700 w 2851150"/>
                <a:gd name="connsiteY24" fmla="*/ 1079500 h 1908175"/>
                <a:gd name="connsiteX25" fmla="*/ 2851150 w 2851150"/>
                <a:gd name="connsiteY25" fmla="*/ 958850 h 1908175"/>
                <a:gd name="connsiteX26" fmla="*/ 2730500 w 2851150"/>
                <a:gd name="connsiteY26" fmla="*/ 952500 h 1908175"/>
                <a:gd name="connsiteX27" fmla="*/ 2667000 w 2851150"/>
                <a:gd name="connsiteY27" fmla="*/ 1009650 h 1908175"/>
                <a:gd name="connsiteX28" fmla="*/ 2578100 w 2851150"/>
                <a:gd name="connsiteY28" fmla="*/ 965200 h 1908175"/>
                <a:gd name="connsiteX29" fmla="*/ 2578100 w 2851150"/>
                <a:gd name="connsiteY29" fmla="*/ 800100 h 1908175"/>
                <a:gd name="connsiteX30" fmla="*/ 2635250 w 2851150"/>
                <a:gd name="connsiteY30" fmla="*/ 711200 h 1908175"/>
                <a:gd name="connsiteX31" fmla="*/ 2546350 w 2851150"/>
                <a:gd name="connsiteY31" fmla="*/ 660400 h 1908175"/>
                <a:gd name="connsiteX32" fmla="*/ 2540000 w 2851150"/>
                <a:gd name="connsiteY32" fmla="*/ 552450 h 1908175"/>
                <a:gd name="connsiteX33" fmla="*/ 2482850 w 2851150"/>
                <a:gd name="connsiteY33" fmla="*/ 501650 h 1908175"/>
                <a:gd name="connsiteX34" fmla="*/ 2482850 w 2851150"/>
                <a:gd name="connsiteY34" fmla="*/ 457200 h 1908175"/>
                <a:gd name="connsiteX35" fmla="*/ 2400300 w 2851150"/>
                <a:gd name="connsiteY35" fmla="*/ 457200 h 1908175"/>
                <a:gd name="connsiteX36" fmla="*/ 2387600 w 2851150"/>
                <a:gd name="connsiteY36" fmla="*/ 254000 h 1908175"/>
                <a:gd name="connsiteX37" fmla="*/ 2482850 w 2851150"/>
                <a:gd name="connsiteY37" fmla="*/ 209550 h 1908175"/>
                <a:gd name="connsiteX38" fmla="*/ 2463800 w 2851150"/>
                <a:gd name="connsiteY38" fmla="*/ 107950 h 1908175"/>
                <a:gd name="connsiteX39" fmla="*/ 2400300 w 2851150"/>
                <a:gd name="connsiteY39" fmla="*/ 69850 h 1908175"/>
                <a:gd name="connsiteX40" fmla="*/ 2254250 w 2851150"/>
                <a:gd name="connsiteY40" fmla="*/ 95250 h 1908175"/>
                <a:gd name="connsiteX41" fmla="*/ 2139950 w 2851150"/>
                <a:gd name="connsiteY41" fmla="*/ 82550 h 1908175"/>
                <a:gd name="connsiteX42" fmla="*/ 2089150 w 2851150"/>
                <a:gd name="connsiteY42" fmla="*/ 63500 h 1908175"/>
                <a:gd name="connsiteX43" fmla="*/ 1981200 w 2851150"/>
                <a:gd name="connsiteY43" fmla="*/ 76200 h 1908175"/>
                <a:gd name="connsiteX44" fmla="*/ 1860550 w 2851150"/>
                <a:gd name="connsiteY44" fmla="*/ 38100 h 1908175"/>
                <a:gd name="connsiteX45" fmla="*/ 1746250 w 2851150"/>
                <a:gd name="connsiteY45" fmla="*/ 88900 h 1908175"/>
                <a:gd name="connsiteX46" fmla="*/ 1670050 w 2851150"/>
                <a:gd name="connsiteY46" fmla="*/ 38100 h 1908175"/>
                <a:gd name="connsiteX47" fmla="*/ 1612900 w 2851150"/>
                <a:gd name="connsiteY47" fmla="*/ 38100 h 1908175"/>
                <a:gd name="connsiteX48" fmla="*/ 1555750 w 2851150"/>
                <a:gd name="connsiteY48" fmla="*/ 0 h 1908175"/>
                <a:gd name="connsiteX49" fmla="*/ 1384300 w 2851150"/>
                <a:gd name="connsiteY49" fmla="*/ 19050 h 1908175"/>
                <a:gd name="connsiteX50" fmla="*/ 1231900 w 2851150"/>
                <a:gd name="connsiteY50" fmla="*/ 50800 h 1908175"/>
                <a:gd name="connsiteX51" fmla="*/ 1149350 w 2851150"/>
                <a:gd name="connsiteY51" fmla="*/ 165100 h 1908175"/>
                <a:gd name="connsiteX52" fmla="*/ 1073150 w 2851150"/>
                <a:gd name="connsiteY52" fmla="*/ 203200 h 1908175"/>
                <a:gd name="connsiteX53" fmla="*/ 1054100 w 2851150"/>
                <a:gd name="connsiteY53" fmla="*/ 114300 h 1908175"/>
                <a:gd name="connsiteX54" fmla="*/ 889000 w 2851150"/>
                <a:gd name="connsiteY54" fmla="*/ 158750 h 1908175"/>
                <a:gd name="connsiteX55" fmla="*/ 800100 w 2851150"/>
                <a:gd name="connsiteY55" fmla="*/ 120650 h 1908175"/>
                <a:gd name="connsiteX56" fmla="*/ 692150 w 2851150"/>
                <a:gd name="connsiteY56" fmla="*/ 209550 h 1908175"/>
                <a:gd name="connsiteX57" fmla="*/ 730250 w 2851150"/>
                <a:gd name="connsiteY57" fmla="*/ 260350 h 1908175"/>
                <a:gd name="connsiteX58" fmla="*/ 685800 w 2851150"/>
                <a:gd name="connsiteY58" fmla="*/ 304800 h 1908175"/>
                <a:gd name="connsiteX59" fmla="*/ 736600 w 2851150"/>
                <a:gd name="connsiteY59" fmla="*/ 400050 h 1908175"/>
                <a:gd name="connsiteX60" fmla="*/ 590550 w 2851150"/>
                <a:gd name="connsiteY60" fmla="*/ 450850 h 1908175"/>
                <a:gd name="connsiteX61" fmla="*/ 508000 w 2851150"/>
                <a:gd name="connsiteY61" fmla="*/ 368300 h 1908175"/>
                <a:gd name="connsiteX62" fmla="*/ 463550 w 2851150"/>
                <a:gd name="connsiteY62" fmla="*/ 419100 h 1908175"/>
                <a:gd name="connsiteX63" fmla="*/ 469900 w 2851150"/>
                <a:gd name="connsiteY63" fmla="*/ 457200 h 1908175"/>
                <a:gd name="connsiteX64" fmla="*/ 400050 w 2851150"/>
                <a:gd name="connsiteY64" fmla="*/ 577850 h 1908175"/>
                <a:gd name="connsiteX65" fmla="*/ 342900 w 2851150"/>
                <a:gd name="connsiteY65" fmla="*/ 577850 h 1908175"/>
                <a:gd name="connsiteX66" fmla="*/ 317500 w 2851150"/>
                <a:gd name="connsiteY66" fmla="*/ 717550 h 1908175"/>
                <a:gd name="connsiteX67" fmla="*/ 247650 w 2851150"/>
                <a:gd name="connsiteY67" fmla="*/ 692150 h 1908175"/>
                <a:gd name="connsiteX68" fmla="*/ 152400 w 2851150"/>
                <a:gd name="connsiteY68" fmla="*/ 825500 h 1908175"/>
                <a:gd name="connsiteX69" fmla="*/ 0 w 2851150"/>
                <a:gd name="connsiteY69" fmla="*/ 838200 h 1908175"/>
                <a:gd name="connsiteX70" fmla="*/ 0 w 2851150"/>
                <a:gd name="connsiteY70" fmla="*/ 971550 h 1908175"/>
                <a:gd name="connsiteX71" fmla="*/ 19050 w 2851150"/>
                <a:gd name="connsiteY71" fmla="*/ 959643 h 1908175"/>
                <a:gd name="connsiteX72" fmla="*/ 63500 w 2851150"/>
                <a:gd name="connsiteY72" fmla="*/ 1130300 h 1908175"/>
                <a:gd name="connsiteX73" fmla="*/ 114300 w 2851150"/>
                <a:gd name="connsiteY73" fmla="*/ 1174750 h 1908175"/>
                <a:gd name="connsiteX74" fmla="*/ 107950 w 2851150"/>
                <a:gd name="connsiteY74" fmla="*/ 1244600 h 1908175"/>
                <a:gd name="connsiteX75" fmla="*/ 50800 w 2851150"/>
                <a:gd name="connsiteY75" fmla="*/ 1333500 h 1908175"/>
                <a:gd name="connsiteX76" fmla="*/ 95250 w 2851150"/>
                <a:gd name="connsiteY76" fmla="*/ 1358900 h 1908175"/>
                <a:gd name="connsiteX77" fmla="*/ 158750 w 2851150"/>
                <a:gd name="connsiteY77" fmla="*/ 1314450 h 1908175"/>
                <a:gd name="connsiteX78" fmla="*/ 247650 w 2851150"/>
                <a:gd name="connsiteY78" fmla="*/ 1308100 h 1908175"/>
                <a:gd name="connsiteX79" fmla="*/ 266700 w 2851150"/>
                <a:gd name="connsiteY79" fmla="*/ 1206500 h 1908175"/>
                <a:gd name="connsiteX80" fmla="*/ 317500 w 2851150"/>
                <a:gd name="connsiteY80" fmla="*/ 1149350 h 1908175"/>
                <a:gd name="connsiteX81" fmla="*/ 387350 w 2851150"/>
                <a:gd name="connsiteY81" fmla="*/ 1149350 h 1908175"/>
                <a:gd name="connsiteX82" fmla="*/ 463550 w 2851150"/>
                <a:gd name="connsiteY82" fmla="*/ 1250950 h 1908175"/>
                <a:gd name="connsiteX83" fmla="*/ 463550 w 2851150"/>
                <a:gd name="connsiteY83" fmla="*/ 1346200 h 1908175"/>
                <a:gd name="connsiteX84" fmla="*/ 527050 w 2851150"/>
                <a:gd name="connsiteY84" fmla="*/ 1416050 h 1908175"/>
                <a:gd name="connsiteX85" fmla="*/ 463550 w 2851150"/>
                <a:gd name="connsiteY85" fmla="*/ 1479550 h 1908175"/>
                <a:gd name="connsiteX86" fmla="*/ 476250 w 2851150"/>
                <a:gd name="connsiteY86" fmla="*/ 1587500 h 1908175"/>
                <a:gd name="connsiteX87" fmla="*/ 431800 w 2851150"/>
                <a:gd name="connsiteY87" fmla="*/ 1695450 h 1908175"/>
                <a:gd name="connsiteX88" fmla="*/ 527050 w 2851150"/>
                <a:gd name="connsiteY88" fmla="*/ 1670050 h 1908175"/>
                <a:gd name="connsiteX89" fmla="*/ 609600 w 2851150"/>
                <a:gd name="connsiteY89" fmla="*/ 1708150 h 1908175"/>
                <a:gd name="connsiteX90" fmla="*/ 685800 w 2851150"/>
                <a:gd name="connsiteY90" fmla="*/ 1612900 h 1908175"/>
                <a:gd name="connsiteX91" fmla="*/ 774700 w 2851150"/>
                <a:gd name="connsiteY91" fmla="*/ 1625600 h 1908175"/>
                <a:gd name="connsiteX92" fmla="*/ 825500 w 2851150"/>
                <a:gd name="connsiteY92" fmla="*/ 1574800 h 1908175"/>
                <a:gd name="connsiteX93" fmla="*/ 812800 w 2851150"/>
                <a:gd name="connsiteY93" fmla="*/ 1657350 h 1908175"/>
                <a:gd name="connsiteX94" fmla="*/ 831850 w 2851150"/>
                <a:gd name="connsiteY94" fmla="*/ 1752600 h 1908175"/>
                <a:gd name="connsiteX95" fmla="*/ 749300 w 2851150"/>
                <a:gd name="connsiteY95" fmla="*/ 1828800 h 1908175"/>
                <a:gd name="connsiteX96" fmla="*/ 760412 w 2851150"/>
                <a:gd name="connsiteY96" fmla="*/ 1908175 h 1908175"/>
                <a:gd name="connsiteX0" fmla="*/ 760412 w 2851150"/>
                <a:gd name="connsiteY0" fmla="*/ 1908175 h 1908175"/>
                <a:gd name="connsiteX1" fmla="*/ 755650 w 2851150"/>
                <a:gd name="connsiteY1" fmla="*/ 1898650 h 1908175"/>
                <a:gd name="connsiteX2" fmla="*/ 908050 w 2851150"/>
                <a:gd name="connsiteY2" fmla="*/ 1892300 h 1908175"/>
                <a:gd name="connsiteX3" fmla="*/ 1104900 w 2851150"/>
                <a:gd name="connsiteY3" fmla="*/ 1892300 h 1908175"/>
                <a:gd name="connsiteX4" fmla="*/ 1117600 w 2851150"/>
                <a:gd name="connsiteY4" fmla="*/ 1892300 h 1908175"/>
                <a:gd name="connsiteX5" fmla="*/ 1276350 w 2851150"/>
                <a:gd name="connsiteY5" fmla="*/ 1828800 h 1908175"/>
                <a:gd name="connsiteX6" fmla="*/ 1504950 w 2851150"/>
                <a:gd name="connsiteY6" fmla="*/ 1835150 h 1908175"/>
                <a:gd name="connsiteX7" fmla="*/ 1543050 w 2851150"/>
                <a:gd name="connsiteY7" fmla="*/ 1568450 h 1908175"/>
                <a:gd name="connsiteX8" fmla="*/ 1689100 w 2851150"/>
                <a:gd name="connsiteY8" fmla="*/ 1517650 h 1908175"/>
                <a:gd name="connsiteX9" fmla="*/ 1797050 w 2851150"/>
                <a:gd name="connsiteY9" fmla="*/ 1587500 h 1908175"/>
                <a:gd name="connsiteX10" fmla="*/ 1905000 w 2851150"/>
                <a:gd name="connsiteY10" fmla="*/ 1587500 h 1908175"/>
                <a:gd name="connsiteX11" fmla="*/ 1924050 w 2851150"/>
                <a:gd name="connsiteY11" fmla="*/ 1689100 h 1908175"/>
                <a:gd name="connsiteX12" fmla="*/ 2057400 w 2851150"/>
                <a:gd name="connsiteY12" fmla="*/ 1670050 h 1908175"/>
                <a:gd name="connsiteX13" fmla="*/ 2057400 w 2851150"/>
                <a:gd name="connsiteY13" fmla="*/ 1765300 h 1908175"/>
                <a:gd name="connsiteX14" fmla="*/ 2146300 w 2851150"/>
                <a:gd name="connsiteY14" fmla="*/ 1752600 h 1908175"/>
                <a:gd name="connsiteX15" fmla="*/ 2184400 w 2851150"/>
                <a:gd name="connsiteY15" fmla="*/ 1631950 h 1908175"/>
                <a:gd name="connsiteX16" fmla="*/ 2305050 w 2851150"/>
                <a:gd name="connsiteY16" fmla="*/ 1619250 h 1908175"/>
                <a:gd name="connsiteX17" fmla="*/ 2381250 w 2851150"/>
                <a:gd name="connsiteY17" fmla="*/ 1543050 h 1908175"/>
                <a:gd name="connsiteX18" fmla="*/ 2393950 w 2851150"/>
                <a:gd name="connsiteY18" fmla="*/ 1454150 h 1908175"/>
                <a:gd name="connsiteX19" fmla="*/ 2470150 w 2851150"/>
                <a:gd name="connsiteY19" fmla="*/ 1460500 h 1908175"/>
                <a:gd name="connsiteX20" fmla="*/ 2552700 w 2851150"/>
                <a:gd name="connsiteY20" fmla="*/ 1377950 h 1908175"/>
                <a:gd name="connsiteX21" fmla="*/ 2660650 w 2851150"/>
                <a:gd name="connsiteY21" fmla="*/ 1447800 h 1908175"/>
                <a:gd name="connsiteX22" fmla="*/ 2787650 w 2851150"/>
                <a:gd name="connsiteY22" fmla="*/ 1257300 h 1908175"/>
                <a:gd name="connsiteX23" fmla="*/ 2806700 w 2851150"/>
                <a:gd name="connsiteY23" fmla="*/ 1079500 h 1908175"/>
                <a:gd name="connsiteX24" fmla="*/ 2851150 w 2851150"/>
                <a:gd name="connsiteY24" fmla="*/ 958850 h 1908175"/>
                <a:gd name="connsiteX25" fmla="*/ 2730500 w 2851150"/>
                <a:gd name="connsiteY25" fmla="*/ 952500 h 1908175"/>
                <a:gd name="connsiteX26" fmla="*/ 2667000 w 2851150"/>
                <a:gd name="connsiteY26" fmla="*/ 1009650 h 1908175"/>
                <a:gd name="connsiteX27" fmla="*/ 2578100 w 2851150"/>
                <a:gd name="connsiteY27" fmla="*/ 965200 h 1908175"/>
                <a:gd name="connsiteX28" fmla="*/ 2578100 w 2851150"/>
                <a:gd name="connsiteY28" fmla="*/ 800100 h 1908175"/>
                <a:gd name="connsiteX29" fmla="*/ 2635250 w 2851150"/>
                <a:gd name="connsiteY29" fmla="*/ 711200 h 1908175"/>
                <a:gd name="connsiteX30" fmla="*/ 2546350 w 2851150"/>
                <a:gd name="connsiteY30" fmla="*/ 660400 h 1908175"/>
                <a:gd name="connsiteX31" fmla="*/ 2540000 w 2851150"/>
                <a:gd name="connsiteY31" fmla="*/ 552450 h 1908175"/>
                <a:gd name="connsiteX32" fmla="*/ 2482850 w 2851150"/>
                <a:gd name="connsiteY32" fmla="*/ 501650 h 1908175"/>
                <a:gd name="connsiteX33" fmla="*/ 2482850 w 2851150"/>
                <a:gd name="connsiteY33" fmla="*/ 457200 h 1908175"/>
                <a:gd name="connsiteX34" fmla="*/ 2400300 w 2851150"/>
                <a:gd name="connsiteY34" fmla="*/ 457200 h 1908175"/>
                <a:gd name="connsiteX35" fmla="*/ 2387600 w 2851150"/>
                <a:gd name="connsiteY35" fmla="*/ 254000 h 1908175"/>
                <a:gd name="connsiteX36" fmla="*/ 2482850 w 2851150"/>
                <a:gd name="connsiteY36" fmla="*/ 209550 h 1908175"/>
                <a:gd name="connsiteX37" fmla="*/ 2463800 w 2851150"/>
                <a:gd name="connsiteY37" fmla="*/ 107950 h 1908175"/>
                <a:gd name="connsiteX38" fmla="*/ 2400300 w 2851150"/>
                <a:gd name="connsiteY38" fmla="*/ 69850 h 1908175"/>
                <a:gd name="connsiteX39" fmla="*/ 2254250 w 2851150"/>
                <a:gd name="connsiteY39" fmla="*/ 95250 h 1908175"/>
                <a:gd name="connsiteX40" fmla="*/ 2139950 w 2851150"/>
                <a:gd name="connsiteY40" fmla="*/ 82550 h 1908175"/>
                <a:gd name="connsiteX41" fmla="*/ 2089150 w 2851150"/>
                <a:gd name="connsiteY41" fmla="*/ 63500 h 1908175"/>
                <a:gd name="connsiteX42" fmla="*/ 1981200 w 2851150"/>
                <a:gd name="connsiteY42" fmla="*/ 76200 h 1908175"/>
                <a:gd name="connsiteX43" fmla="*/ 1860550 w 2851150"/>
                <a:gd name="connsiteY43" fmla="*/ 38100 h 1908175"/>
                <a:gd name="connsiteX44" fmla="*/ 1746250 w 2851150"/>
                <a:gd name="connsiteY44" fmla="*/ 88900 h 1908175"/>
                <a:gd name="connsiteX45" fmla="*/ 1670050 w 2851150"/>
                <a:gd name="connsiteY45" fmla="*/ 38100 h 1908175"/>
                <a:gd name="connsiteX46" fmla="*/ 1612900 w 2851150"/>
                <a:gd name="connsiteY46" fmla="*/ 38100 h 1908175"/>
                <a:gd name="connsiteX47" fmla="*/ 1555750 w 2851150"/>
                <a:gd name="connsiteY47" fmla="*/ 0 h 1908175"/>
                <a:gd name="connsiteX48" fmla="*/ 1384300 w 2851150"/>
                <a:gd name="connsiteY48" fmla="*/ 19050 h 1908175"/>
                <a:gd name="connsiteX49" fmla="*/ 1231900 w 2851150"/>
                <a:gd name="connsiteY49" fmla="*/ 50800 h 1908175"/>
                <a:gd name="connsiteX50" fmla="*/ 1149350 w 2851150"/>
                <a:gd name="connsiteY50" fmla="*/ 165100 h 1908175"/>
                <a:gd name="connsiteX51" fmla="*/ 1073150 w 2851150"/>
                <a:gd name="connsiteY51" fmla="*/ 203200 h 1908175"/>
                <a:gd name="connsiteX52" fmla="*/ 1054100 w 2851150"/>
                <a:gd name="connsiteY52" fmla="*/ 114300 h 1908175"/>
                <a:gd name="connsiteX53" fmla="*/ 889000 w 2851150"/>
                <a:gd name="connsiteY53" fmla="*/ 158750 h 1908175"/>
                <a:gd name="connsiteX54" fmla="*/ 800100 w 2851150"/>
                <a:gd name="connsiteY54" fmla="*/ 120650 h 1908175"/>
                <a:gd name="connsiteX55" fmla="*/ 692150 w 2851150"/>
                <a:gd name="connsiteY55" fmla="*/ 209550 h 1908175"/>
                <a:gd name="connsiteX56" fmla="*/ 730250 w 2851150"/>
                <a:gd name="connsiteY56" fmla="*/ 260350 h 1908175"/>
                <a:gd name="connsiteX57" fmla="*/ 685800 w 2851150"/>
                <a:gd name="connsiteY57" fmla="*/ 304800 h 1908175"/>
                <a:gd name="connsiteX58" fmla="*/ 736600 w 2851150"/>
                <a:gd name="connsiteY58" fmla="*/ 400050 h 1908175"/>
                <a:gd name="connsiteX59" fmla="*/ 590550 w 2851150"/>
                <a:gd name="connsiteY59" fmla="*/ 450850 h 1908175"/>
                <a:gd name="connsiteX60" fmla="*/ 508000 w 2851150"/>
                <a:gd name="connsiteY60" fmla="*/ 368300 h 1908175"/>
                <a:gd name="connsiteX61" fmla="*/ 463550 w 2851150"/>
                <a:gd name="connsiteY61" fmla="*/ 419100 h 1908175"/>
                <a:gd name="connsiteX62" fmla="*/ 469900 w 2851150"/>
                <a:gd name="connsiteY62" fmla="*/ 457200 h 1908175"/>
                <a:gd name="connsiteX63" fmla="*/ 400050 w 2851150"/>
                <a:gd name="connsiteY63" fmla="*/ 577850 h 1908175"/>
                <a:gd name="connsiteX64" fmla="*/ 342900 w 2851150"/>
                <a:gd name="connsiteY64" fmla="*/ 577850 h 1908175"/>
                <a:gd name="connsiteX65" fmla="*/ 317500 w 2851150"/>
                <a:gd name="connsiteY65" fmla="*/ 717550 h 1908175"/>
                <a:gd name="connsiteX66" fmla="*/ 247650 w 2851150"/>
                <a:gd name="connsiteY66" fmla="*/ 692150 h 1908175"/>
                <a:gd name="connsiteX67" fmla="*/ 152400 w 2851150"/>
                <a:gd name="connsiteY67" fmla="*/ 825500 h 1908175"/>
                <a:gd name="connsiteX68" fmla="*/ 0 w 2851150"/>
                <a:gd name="connsiteY68" fmla="*/ 838200 h 1908175"/>
                <a:gd name="connsiteX69" fmla="*/ 0 w 2851150"/>
                <a:gd name="connsiteY69" fmla="*/ 971550 h 1908175"/>
                <a:gd name="connsiteX70" fmla="*/ 19050 w 2851150"/>
                <a:gd name="connsiteY70" fmla="*/ 959643 h 1908175"/>
                <a:gd name="connsiteX71" fmla="*/ 63500 w 2851150"/>
                <a:gd name="connsiteY71" fmla="*/ 1130300 h 1908175"/>
                <a:gd name="connsiteX72" fmla="*/ 114300 w 2851150"/>
                <a:gd name="connsiteY72" fmla="*/ 1174750 h 1908175"/>
                <a:gd name="connsiteX73" fmla="*/ 107950 w 2851150"/>
                <a:gd name="connsiteY73" fmla="*/ 1244600 h 1908175"/>
                <a:gd name="connsiteX74" fmla="*/ 50800 w 2851150"/>
                <a:gd name="connsiteY74" fmla="*/ 1333500 h 1908175"/>
                <a:gd name="connsiteX75" fmla="*/ 95250 w 2851150"/>
                <a:gd name="connsiteY75" fmla="*/ 1358900 h 1908175"/>
                <a:gd name="connsiteX76" fmla="*/ 158750 w 2851150"/>
                <a:gd name="connsiteY76" fmla="*/ 1314450 h 1908175"/>
                <a:gd name="connsiteX77" fmla="*/ 247650 w 2851150"/>
                <a:gd name="connsiteY77" fmla="*/ 1308100 h 1908175"/>
                <a:gd name="connsiteX78" fmla="*/ 266700 w 2851150"/>
                <a:gd name="connsiteY78" fmla="*/ 1206500 h 1908175"/>
                <a:gd name="connsiteX79" fmla="*/ 317500 w 2851150"/>
                <a:gd name="connsiteY79" fmla="*/ 1149350 h 1908175"/>
                <a:gd name="connsiteX80" fmla="*/ 387350 w 2851150"/>
                <a:gd name="connsiteY80" fmla="*/ 1149350 h 1908175"/>
                <a:gd name="connsiteX81" fmla="*/ 463550 w 2851150"/>
                <a:gd name="connsiteY81" fmla="*/ 1250950 h 1908175"/>
                <a:gd name="connsiteX82" fmla="*/ 463550 w 2851150"/>
                <a:gd name="connsiteY82" fmla="*/ 1346200 h 1908175"/>
                <a:gd name="connsiteX83" fmla="*/ 527050 w 2851150"/>
                <a:gd name="connsiteY83" fmla="*/ 1416050 h 1908175"/>
                <a:gd name="connsiteX84" fmla="*/ 463550 w 2851150"/>
                <a:gd name="connsiteY84" fmla="*/ 1479550 h 1908175"/>
                <a:gd name="connsiteX85" fmla="*/ 476250 w 2851150"/>
                <a:gd name="connsiteY85" fmla="*/ 1587500 h 1908175"/>
                <a:gd name="connsiteX86" fmla="*/ 431800 w 2851150"/>
                <a:gd name="connsiteY86" fmla="*/ 1695450 h 1908175"/>
                <a:gd name="connsiteX87" fmla="*/ 527050 w 2851150"/>
                <a:gd name="connsiteY87" fmla="*/ 1670050 h 1908175"/>
                <a:gd name="connsiteX88" fmla="*/ 609600 w 2851150"/>
                <a:gd name="connsiteY88" fmla="*/ 1708150 h 1908175"/>
                <a:gd name="connsiteX89" fmla="*/ 685800 w 2851150"/>
                <a:gd name="connsiteY89" fmla="*/ 1612900 h 1908175"/>
                <a:gd name="connsiteX90" fmla="*/ 774700 w 2851150"/>
                <a:gd name="connsiteY90" fmla="*/ 1625600 h 1908175"/>
                <a:gd name="connsiteX91" fmla="*/ 825500 w 2851150"/>
                <a:gd name="connsiteY91" fmla="*/ 1574800 h 1908175"/>
                <a:gd name="connsiteX92" fmla="*/ 812800 w 2851150"/>
                <a:gd name="connsiteY92" fmla="*/ 1657350 h 1908175"/>
                <a:gd name="connsiteX93" fmla="*/ 831850 w 2851150"/>
                <a:gd name="connsiteY93" fmla="*/ 1752600 h 1908175"/>
                <a:gd name="connsiteX94" fmla="*/ 749300 w 2851150"/>
                <a:gd name="connsiteY94" fmla="*/ 1828800 h 1908175"/>
                <a:gd name="connsiteX95" fmla="*/ 760412 w 2851150"/>
                <a:gd name="connsiteY95" fmla="*/ 1908175 h 1908175"/>
                <a:gd name="connsiteX0" fmla="*/ 760412 w 2851150"/>
                <a:gd name="connsiteY0" fmla="*/ 1908175 h 1908175"/>
                <a:gd name="connsiteX1" fmla="*/ 755650 w 2851150"/>
                <a:gd name="connsiteY1" fmla="*/ 1898650 h 1908175"/>
                <a:gd name="connsiteX2" fmla="*/ 908050 w 2851150"/>
                <a:gd name="connsiteY2" fmla="*/ 1892300 h 1908175"/>
                <a:gd name="connsiteX3" fmla="*/ 1117600 w 2851150"/>
                <a:gd name="connsiteY3" fmla="*/ 1892300 h 1908175"/>
                <a:gd name="connsiteX4" fmla="*/ 1276350 w 2851150"/>
                <a:gd name="connsiteY4" fmla="*/ 1828800 h 1908175"/>
                <a:gd name="connsiteX5" fmla="*/ 1504950 w 2851150"/>
                <a:gd name="connsiteY5" fmla="*/ 1835150 h 1908175"/>
                <a:gd name="connsiteX6" fmla="*/ 1543050 w 2851150"/>
                <a:gd name="connsiteY6" fmla="*/ 1568450 h 1908175"/>
                <a:gd name="connsiteX7" fmla="*/ 1689100 w 2851150"/>
                <a:gd name="connsiteY7" fmla="*/ 1517650 h 1908175"/>
                <a:gd name="connsiteX8" fmla="*/ 1797050 w 2851150"/>
                <a:gd name="connsiteY8" fmla="*/ 1587500 h 1908175"/>
                <a:gd name="connsiteX9" fmla="*/ 1905000 w 2851150"/>
                <a:gd name="connsiteY9" fmla="*/ 1587500 h 1908175"/>
                <a:gd name="connsiteX10" fmla="*/ 1924050 w 2851150"/>
                <a:gd name="connsiteY10" fmla="*/ 1689100 h 1908175"/>
                <a:gd name="connsiteX11" fmla="*/ 2057400 w 2851150"/>
                <a:gd name="connsiteY11" fmla="*/ 1670050 h 1908175"/>
                <a:gd name="connsiteX12" fmla="*/ 2057400 w 2851150"/>
                <a:gd name="connsiteY12" fmla="*/ 1765300 h 1908175"/>
                <a:gd name="connsiteX13" fmla="*/ 2146300 w 2851150"/>
                <a:gd name="connsiteY13" fmla="*/ 1752600 h 1908175"/>
                <a:gd name="connsiteX14" fmla="*/ 2184400 w 2851150"/>
                <a:gd name="connsiteY14" fmla="*/ 1631950 h 1908175"/>
                <a:gd name="connsiteX15" fmla="*/ 2305050 w 2851150"/>
                <a:gd name="connsiteY15" fmla="*/ 1619250 h 1908175"/>
                <a:gd name="connsiteX16" fmla="*/ 2381250 w 2851150"/>
                <a:gd name="connsiteY16" fmla="*/ 1543050 h 1908175"/>
                <a:gd name="connsiteX17" fmla="*/ 2393950 w 2851150"/>
                <a:gd name="connsiteY17" fmla="*/ 1454150 h 1908175"/>
                <a:gd name="connsiteX18" fmla="*/ 2470150 w 2851150"/>
                <a:gd name="connsiteY18" fmla="*/ 1460500 h 1908175"/>
                <a:gd name="connsiteX19" fmla="*/ 2552700 w 2851150"/>
                <a:gd name="connsiteY19" fmla="*/ 1377950 h 1908175"/>
                <a:gd name="connsiteX20" fmla="*/ 2660650 w 2851150"/>
                <a:gd name="connsiteY20" fmla="*/ 1447800 h 1908175"/>
                <a:gd name="connsiteX21" fmla="*/ 2787650 w 2851150"/>
                <a:gd name="connsiteY21" fmla="*/ 1257300 h 1908175"/>
                <a:gd name="connsiteX22" fmla="*/ 2806700 w 2851150"/>
                <a:gd name="connsiteY22" fmla="*/ 1079500 h 1908175"/>
                <a:gd name="connsiteX23" fmla="*/ 2851150 w 2851150"/>
                <a:gd name="connsiteY23" fmla="*/ 958850 h 1908175"/>
                <a:gd name="connsiteX24" fmla="*/ 2730500 w 2851150"/>
                <a:gd name="connsiteY24" fmla="*/ 952500 h 1908175"/>
                <a:gd name="connsiteX25" fmla="*/ 2667000 w 2851150"/>
                <a:gd name="connsiteY25" fmla="*/ 1009650 h 1908175"/>
                <a:gd name="connsiteX26" fmla="*/ 2578100 w 2851150"/>
                <a:gd name="connsiteY26" fmla="*/ 965200 h 1908175"/>
                <a:gd name="connsiteX27" fmla="*/ 2578100 w 2851150"/>
                <a:gd name="connsiteY27" fmla="*/ 800100 h 1908175"/>
                <a:gd name="connsiteX28" fmla="*/ 2635250 w 2851150"/>
                <a:gd name="connsiteY28" fmla="*/ 711200 h 1908175"/>
                <a:gd name="connsiteX29" fmla="*/ 2546350 w 2851150"/>
                <a:gd name="connsiteY29" fmla="*/ 660400 h 1908175"/>
                <a:gd name="connsiteX30" fmla="*/ 2540000 w 2851150"/>
                <a:gd name="connsiteY30" fmla="*/ 552450 h 1908175"/>
                <a:gd name="connsiteX31" fmla="*/ 2482850 w 2851150"/>
                <a:gd name="connsiteY31" fmla="*/ 501650 h 1908175"/>
                <a:gd name="connsiteX32" fmla="*/ 2482850 w 2851150"/>
                <a:gd name="connsiteY32" fmla="*/ 457200 h 1908175"/>
                <a:gd name="connsiteX33" fmla="*/ 2400300 w 2851150"/>
                <a:gd name="connsiteY33" fmla="*/ 457200 h 1908175"/>
                <a:gd name="connsiteX34" fmla="*/ 2387600 w 2851150"/>
                <a:gd name="connsiteY34" fmla="*/ 254000 h 1908175"/>
                <a:gd name="connsiteX35" fmla="*/ 2482850 w 2851150"/>
                <a:gd name="connsiteY35" fmla="*/ 209550 h 1908175"/>
                <a:gd name="connsiteX36" fmla="*/ 2463800 w 2851150"/>
                <a:gd name="connsiteY36" fmla="*/ 107950 h 1908175"/>
                <a:gd name="connsiteX37" fmla="*/ 2400300 w 2851150"/>
                <a:gd name="connsiteY37" fmla="*/ 69850 h 1908175"/>
                <a:gd name="connsiteX38" fmla="*/ 2254250 w 2851150"/>
                <a:gd name="connsiteY38" fmla="*/ 95250 h 1908175"/>
                <a:gd name="connsiteX39" fmla="*/ 2139950 w 2851150"/>
                <a:gd name="connsiteY39" fmla="*/ 82550 h 1908175"/>
                <a:gd name="connsiteX40" fmla="*/ 2089150 w 2851150"/>
                <a:gd name="connsiteY40" fmla="*/ 63500 h 1908175"/>
                <a:gd name="connsiteX41" fmla="*/ 1981200 w 2851150"/>
                <a:gd name="connsiteY41" fmla="*/ 76200 h 1908175"/>
                <a:gd name="connsiteX42" fmla="*/ 1860550 w 2851150"/>
                <a:gd name="connsiteY42" fmla="*/ 38100 h 1908175"/>
                <a:gd name="connsiteX43" fmla="*/ 1746250 w 2851150"/>
                <a:gd name="connsiteY43" fmla="*/ 88900 h 1908175"/>
                <a:gd name="connsiteX44" fmla="*/ 1670050 w 2851150"/>
                <a:gd name="connsiteY44" fmla="*/ 38100 h 1908175"/>
                <a:gd name="connsiteX45" fmla="*/ 1612900 w 2851150"/>
                <a:gd name="connsiteY45" fmla="*/ 38100 h 1908175"/>
                <a:gd name="connsiteX46" fmla="*/ 1555750 w 2851150"/>
                <a:gd name="connsiteY46" fmla="*/ 0 h 1908175"/>
                <a:gd name="connsiteX47" fmla="*/ 1384300 w 2851150"/>
                <a:gd name="connsiteY47" fmla="*/ 19050 h 1908175"/>
                <a:gd name="connsiteX48" fmla="*/ 1231900 w 2851150"/>
                <a:gd name="connsiteY48" fmla="*/ 50800 h 1908175"/>
                <a:gd name="connsiteX49" fmla="*/ 1149350 w 2851150"/>
                <a:gd name="connsiteY49" fmla="*/ 165100 h 1908175"/>
                <a:gd name="connsiteX50" fmla="*/ 1073150 w 2851150"/>
                <a:gd name="connsiteY50" fmla="*/ 203200 h 1908175"/>
                <a:gd name="connsiteX51" fmla="*/ 1054100 w 2851150"/>
                <a:gd name="connsiteY51" fmla="*/ 114300 h 1908175"/>
                <a:gd name="connsiteX52" fmla="*/ 889000 w 2851150"/>
                <a:gd name="connsiteY52" fmla="*/ 158750 h 1908175"/>
                <a:gd name="connsiteX53" fmla="*/ 800100 w 2851150"/>
                <a:gd name="connsiteY53" fmla="*/ 120650 h 1908175"/>
                <a:gd name="connsiteX54" fmla="*/ 692150 w 2851150"/>
                <a:gd name="connsiteY54" fmla="*/ 209550 h 1908175"/>
                <a:gd name="connsiteX55" fmla="*/ 730250 w 2851150"/>
                <a:gd name="connsiteY55" fmla="*/ 260350 h 1908175"/>
                <a:gd name="connsiteX56" fmla="*/ 685800 w 2851150"/>
                <a:gd name="connsiteY56" fmla="*/ 304800 h 1908175"/>
                <a:gd name="connsiteX57" fmla="*/ 736600 w 2851150"/>
                <a:gd name="connsiteY57" fmla="*/ 400050 h 1908175"/>
                <a:gd name="connsiteX58" fmla="*/ 590550 w 2851150"/>
                <a:gd name="connsiteY58" fmla="*/ 450850 h 1908175"/>
                <a:gd name="connsiteX59" fmla="*/ 508000 w 2851150"/>
                <a:gd name="connsiteY59" fmla="*/ 368300 h 1908175"/>
                <a:gd name="connsiteX60" fmla="*/ 463550 w 2851150"/>
                <a:gd name="connsiteY60" fmla="*/ 419100 h 1908175"/>
                <a:gd name="connsiteX61" fmla="*/ 469900 w 2851150"/>
                <a:gd name="connsiteY61" fmla="*/ 457200 h 1908175"/>
                <a:gd name="connsiteX62" fmla="*/ 400050 w 2851150"/>
                <a:gd name="connsiteY62" fmla="*/ 577850 h 1908175"/>
                <a:gd name="connsiteX63" fmla="*/ 342900 w 2851150"/>
                <a:gd name="connsiteY63" fmla="*/ 577850 h 1908175"/>
                <a:gd name="connsiteX64" fmla="*/ 317500 w 2851150"/>
                <a:gd name="connsiteY64" fmla="*/ 717550 h 1908175"/>
                <a:gd name="connsiteX65" fmla="*/ 247650 w 2851150"/>
                <a:gd name="connsiteY65" fmla="*/ 692150 h 1908175"/>
                <a:gd name="connsiteX66" fmla="*/ 152400 w 2851150"/>
                <a:gd name="connsiteY66" fmla="*/ 825500 h 1908175"/>
                <a:gd name="connsiteX67" fmla="*/ 0 w 2851150"/>
                <a:gd name="connsiteY67" fmla="*/ 838200 h 1908175"/>
                <a:gd name="connsiteX68" fmla="*/ 0 w 2851150"/>
                <a:gd name="connsiteY68" fmla="*/ 971550 h 1908175"/>
                <a:gd name="connsiteX69" fmla="*/ 19050 w 2851150"/>
                <a:gd name="connsiteY69" fmla="*/ 959643 h 1908175"/>
                <a:gd name="connsiteX70" fmla="*/ 63500 w 2851150"/>
                <a:gd name="connsiteY70" fmla="*/ 1130300 h 1908175"/>
                <a:gd name="connsiteX71" fmla="*/ 114300 w 2851150"/>
                <a:gd name="connsiteY71" fmla="*/ 1174750 h 1908175"/>
                <a:gd name="connsiteX72" fmla="*/ 107950 w 2851150"/>
                <a:gd name="connsiteY72" fmla="*/ 1244600 h 1908175"/>
                <a:gd name="connsiteX73" fmla="*/ 50800 w 2851150"/>
                <a:gd name="connsiteY73" fmla="*/ 1333500 h 1908175"/>
                <a:gd name="connsiteX74" fmla="*/ 95250 w 2851150"/>
                <a:gd name="connsiteY74" fmla="*/ 1358900 h 1908175"/>
                <a:gd name="connsiteX75" fmla="*/ 158750 w 2851150"/>
                <a:gd name="connsiteY75" fmla="*/ 1314450 h 1908175"/>
                <a:gd name="connsiteX76" fmla="*/ 247650 w 2851150"/>
                <a:gd name="connsiteY76" fmla="*/ 1308100 h 1908175"/>
                <a:gd name="connsiteX77" fmla="*/ 266700 w 2851150"/>
                <a:gd name="connsiteY77" fmla="*/ 1206500 h 1908175"/>
                <a:gd name="connsiteX78" fmla="*/ 317500 w 2851150"/>
                <a:gd name="connsiteY78" fmla="*/ 1149350 h 1908175"/>
                <a:gd name="connsiteX79" fmla="*/ 387350 w 2851150"/>
                <a:gd name="connsiteY79" fmla="*/ 1149350 h 1908175"/>
                <a:gd name="connsiteX80" fmla="*/ 463550 w 2851150"/>
                <a:gd name="connsiteY80" fmla="*/ 1250950 h 1908175"/>
                <a:gd name="connsiteX81" fmla="*/ 463550 w 2851150"/>
                <a:gd name="connsiteY81" fmla="*/ 1346200 h 1908175"/>
                <a:gd name="connsiteX82" fmla="*/ 527050 w 2851150"/>
                <a:gd name="connsiteY82" fmla="*/ 1416050 h 1908175"/>
                <a:gd name="connsiteX83" fmla="*/ 463550 w 2851150"/>
                <a:gd name="connsiteY83" fmla="*/ 1479550 h 1908175"/>
                <a:gd name="connsiteX84" fmla="*/ 476250 w 2851150"/>
                <a:gd name="connsiteY84" fmla="*/ 1587500 h 1908175"/>
                <a:gd name="connsiteX85" fmla="*/ 431800 w 2851150"/>
                <a:gd name="connsiteY85" fmla="*/ 1695450 h 1908175"/>
                <a:gd name="connsiteX86" fmla="*/ 527050 w 2851150"/>
                <a:gd name="connsiteY86" fmla="*/ 1670050 h 1908175"/>
                <a:gd name="connsiteX87" fmla="*/ 609600 w 2851150"/>
                <a:gd name="connsiteY87" fmla="*/ 1708150 h 1908175"/>
                <a:gd name="connsiteX88" fmla="*/ 685800 w 2851150"/>
                <a:gd name="connsiteY88" fmla="*/ 1612900 h 1908175"/>
                <a:gd name="connsiteX89" fmla="*/ 774700 w 2851150"/>
                <a:gd name="connsiteY89" fmla="*/ 1625600 h 1908175"/>
                <a:gd name="connsiteX90" fmla="*/ 825500 w 2851150"/>
                <a:gd name="connsiteY90" fmla="*/ 1574800 h 1908175"/>
                <a:gd name="connsiteX91" fmla="*/ 812800 w 2851150"/>
                <a:gd name="connsiteY91" fmla="*/ 1657350 h 1908175"/>
                <a:gd name="connsiteX92" fmla="*/ 831850 w 2851150"/>
                <a:gd name="connsiteY92" fmla="*/ 1752600 h 1908175"/>
                <a:gd name="connsiteX93" fmla="*/ 749300 w 2851150"/>
                <a:gd name="connsiteY93" fmla="*/ 1828800 h 1908175"/>
                <a:gd name="connsiteX94" fmla="*/ 760412 w 2851150"/>
                <a:gd name="connsiteY94" fmla="*/ 1908175 h 1908175"/>
                <a:gd name="connsiteX0" fmla="*/ 749300 w 2851150"/>
                <a:gd name="connsiteY0" fmla="*/ 1828800 h 1898650"/>
                <a:gd name="connsiteX1" fmla="*/ 755650 w 2851150"/>
                <a:gd name="connsiteY1" fmla="*/ 1898650 h 1898650"/>
                <a:gd name="connsiteX2" fmla="*/ 908050 w 2851150"/>
                <a:gd name="connsiteY2" fmla="*/ 1892300 h 1898650"/>
                <a:gd name="connsiteX3" fmla="*/ 1117600 w 2851150"/>
                <a:gd name="connsiteY3" fmla="*/ 1892300 h 1898650"/>
                <a:gd name="connsiteX4" fmla="*/ 1276350 w 2851150"/>
                <a:gd name="connsiteY4" fmla="*/ 1828800 h 1898650"/>
                <a:gd name="connsiteX5" fmla="*/ 1504950 w 2851150"/>
                <a:gd name="connsiteY5" fmla="*/ 1835150 h 1898650"/>
                <a:gd name="connsiteX6" fmla="*/ 1543050 w 2851150"/>
                <a:gd name="connsiteY6" fmla="*/ 1568450 h 1898650"/>
                <a:gd name="connsiteX7" fmla="*/ 1689100 w 2851150"/>
                <a:gd name="connsiteY7" fmla="*/ 1517650 h 1898650"/>
                <a:gd name="connsiteX8" fmla="*/ 1797050 w 2851150"/>
                <a:gd name="connsiteY8" fmla="*/ 1587500 h 1898650"/>
                <a:gd name="connsiteX9" fmla="*/ 1905000 w 2851150"/>
                <a:gd name="connsiteY9" fmla="*/ 1587500 h 1898650"/>
                <a:gd name="connsiteX10" fmla="*/ 1924050 w 2851150"/>
                <a:gd name="connsiteY10" fmla="*/ 1689100 h 1898650"/>
                <a:gd name="connsiteX11" fmla="*/ 2057400 w 2851150"/>
                <a:gd name="connsiteY11" fmla="*/ 1670050 h 1898650"/>
                <a:gd name="connsiteX12" fmla="*/ 2057400 w 2851150"/>
                <a:gd name="connsiteY12" fmla="*/ 1765300 h 1898650"/>
                <a:gd name="connsiteX13" fmla="*/ 2146300 w 2851150"/>
                <a:gd name="connsiteY13" fmla="*/ 1752600 h 1898650"/>
                <a:gd name="connsiteX14" fmla="*/ 2184400 w 2851150"/>
                <a:gd name="connsiteY14" fmla="*/ 1631950 h 1898650"/>
                <a:gd name="connsiteX15" fmla="*/ 2305050 w 2851150"/>
                <a:gd name="connsiteY15" fmla="*/ 1619250 h 1898650"/>
                <a:gd name="connsiteX16" fmla="*/ 2381250 w 2851150"/>
                <a:gd name="connsiteY16" fmla="*/ 1543050 h 1898650"/>
                <a:gd name="connsiteX17" fmla="*/ 2393950 w 2851150"/>
                <a:gd name="connsiteY17" fmla="*/ 1454150 h 1898650"/>
                <a:gd name="connsiteX18" fmla="*/ 2470150 w 2851150"/>
                <a:gd name="connsiteY18" fmla="*/ 1460500 h 1898650"/>
                <a:gd name="connsiteX19" fmla="*/ 2552700 w 2851150"/>
                <a:gd name="connsiteY19" fmla="*/ 1377950 h 1898650"/>
                <a:gd name="connsiteX20" fmla="*/ 2660650 w 2851150"/>
                <a:gd name="connsiteY20" fmla="*/ 1447800 h 1898650"/>
                <a:gd name="connsiteX21" fmla="*/ 2787650 w 2851150"/>
                <a:gd name="connsiteY21" fmla="*/ 1257300 h 1898650"/>
                <a:gd name="connsiteX22" fmla="*/ 2806700 w 2851150"/>
                <a:gd name="connsiteY22" fmla="*/ 1079500 h 1898650"/>
                <a:gd name="connsiteX23" fmla="*/ 2851150 w 2851150"/>
                <a:gd name="connsiteY23" fmla="*/ 958850 h 1898650"/>
                <a:gd name="connsiteX24" fmla="*/ 2730500 w 2851150"/>
                <a:gd name="connsiteY24" fmla="*/ 952500 h 1898650"/>
                <a:gd name="connsiteX25" fmla="*/ 2667000 w 2851150"/>
                <a:gd name="connsiteY25" fmla="*/ 1009650 h 1898650"/>
                <a:gd name="connsiteX26" fmla="*/ 2578100 w 2851150"/>
                <a:gd name="connsiteY26" fmla="*/ 965200 h 1898650"/>
                <a:gd name="connsiteX27" fmla="*/ 2578100 w 2851150"/>
                <a:gd name="connsiteY27" fmla="*/ 800100 h 1898650"/>
                <a:gd name="connsiteX28" fmla="*/ 2635250 w 2851150"/>
                <a:gd name="connsiteY28" fmla="*/ 711200 h 1898650"/>
                <a:gd name="connsiteX29" fmla="*/ 2546350 w 2851150"/>
                <a:gd name="connsiteY29" fmla="*/ 660400 h 1898650"/>
                <a:gd name="connsiteX30" fmla="*/ 2540000 w 2851150"/>
                <a:gd name="connsiteY30" fmla="*/ 552450 h 1898650"/>
                <a:gd name="connsiteX31" fmla="*/ 2482850 w 2851150"/>
                <a:gd name="connsiteY31" fmla="*/ 501650 h 1898650"/>
                <a:gd name="connsiteX32" fmla="*/ 2482850 w 2851150"/>
                <a:gd name="connsiteY32" fmla="*/ 457200 h 1898650"/>
                <a:gd name="connsiteX33" fmla="*/ 2400300 w 2851150"/>
                <a:gd name="connsiteY33" fmla="*/ 457200 h 1898650"/>
                <a:gd name="connsiteX34" fmla="*/ 2387600 w 2851150"/>
                <a:gd name="connsiteY34" fmla="*/ 254000 h 1898650"/>
                <a:gd name="connsiteX35" fmla="*/ 2482850 w 2851150"/>
                <a:gd name="connsiteY35" fmla="*/ 209550 h 1898650"/>
                <a:gd name="connsiteX36" fmla="*/ 2463800 w 2851150"/>
                <a:gd name="connsiteY36" fmla="*/ 107950 h 1898650"/>
                <a:gd name="connsiteX37" fmla="*/ 2400300 w 2851150"/>
                <a:gd name="connsiteY37" fmla="*/ 69850 h 1898650"/>
                <a:gd name="connsiteX38" fmla="*/ 2254250 w 2851150"/>
                <a:gd name="connsiteY38" fmla="*/ 95250 h 1898650"/>
                <a:gd name="connsiteX39" fmla="*/ 2139950 w 2851150"/>
                <a:gd name="connsiteY39" fmla="*/ 82550 h 1898650"/>
                <a:gd name="connsiteX40" fmla="*/ 2089150 w 2851150"/>
                <a:gd name="connsiteY40" fmla="*/ 63500 h 1898650"/>
                <a:gd name="connsiteX41" fmla="*/ 1981200 w 2851150"/>
                <a:gd name="connsiteY41" fmla="*/ 76200 h 1898650"/>
                <a:gd name="connsiteX42" fmla="*/ 1860550 w 2851150"/>
                <a:gd name="connsiteY42" fmla="*/ 38100 h 1898650"/>
                <a:gd name="connsiteX43" fmla="*/ 1746250 w 2851150"/>
                <a:gd name="connsiteY43" fmla="*/ 88900 h 1898650"/>
                <a:gd name="connsiteX44" fmla="*/ 1670050 w 2851150"/>
                <a:gd name="connsiteY44" fmla="*/ 38100 h 1898650"/>
                <a:gd name="connsiteX45" fmla="*/ 1612900 w 2851150"/>
                <a:gd name="connsiteY45" fmla="*/ 38100 h 1898650"/>
                <a:gd name="connsiteX46" fmla="*/ 1555750 w 2851150"/>
                <a:gd name="connsiteY46" fmla="*/ 0 h 1898650"/>
                <a:gd name="connsiteX47" fmla="*/ 1384300 w 2851150"/>
                <a:gd name="connsiteY47" fmla="*/ 19050 h 1898650"/>
                <a:gd name="connsiteX48" fmla="*/ 1231900 w 2851150"/>
                <a:gd name="connsiteY48" fmla="*/ 50800 h 1898650"/>
                <a:gd name="connsiteX49" fmla="*/ 1149350 w 2851150"/>
                <a:gd name="connsiteY49" fmla="*/ 165100 h 1898650"/>
                <a:gd name="connsiteX50" fmla="*/ 1073150 w 2851150"/>
                <a:gd name="connsiteY50" fmla="*/ 203200 h 1898650"/>
                <a:gd name="connsiteX51" fmla="*/ 1054100 w 2851150"/>
                <a:gd name="connsiteY51" fmla="*/ 114300 h 1898650"/>
                <a:gd name="connsiteX52" fmla="*/ 889000 w 2851150"/>
                <a:gd name="connsiteY52" fmla="*/ 158750 h 1898650"/>
                <a:gd name="connsiteX53" fmla="*/ 800100 w 2851150"/>
                <a:gd name="connsiteY53" fmla="*/ 120650 h 1898650"/>
                <a:gd name="connsiteX54" fmla="*/ 692150 w 2851150"/>
                <a:gd name="connsiteY54" fmla="*/ 209550 h 1898650"/>
                <a:gd name="connsiteX55" fmla="*/ 730250 w 2851150"/>
                <a:gd name="connsiteY55" fmla="*/ 260350 h 1898650"/>
                <a:gd name="connsiteX56" fmla="*/ 685800 w 2851150"/>
                <a:gd name="connsiteY56" fmla="*/ 304800 h 1898650"/>
                <a:gd name="connsiteX57" fmla="*/ 736600 w 2851150"/>
                <a:gd name="connsiteY57" fmla="*/ 400050 h 1898650"/>
                <a:gd name="connsiteX58" fmla="*/ 590550 w 2851150"/>
                <a:gd name="connsiteY58" fmla="*/ 450850 h 1898650"/>
                <a:gd name="connsiteX59" fmla="*/ 508000 w 2851150"/>
                <a:gd name="connsiteY59" fmla="*/ 368300 h 1898650"/>
                <a:gd name="connsiteX60" fmla="*/ 463550 w 2851150"/>
                <a:gd name="connsiteY60" fmla="*/ 419100 h 1898650"/>
                <a:gd name="connsiteX61" fmla="*/ 469900 w 2851150"/>
                <a:gd name="connsiteY61" fmla="*/ 457200 h 1898650"/>
                <a:gd name="connsiteX62" fmla="*/ 400050 w 2851150"/>
                <a:gd name="connsiteY62" fmla="*/ 577850 h 1898650"/>
                <a:gd name="connsiteX63" fmla="*/ 342900 w 2851150"/>
                <a:gd name="connsiteY63" fmla="*/ 577850 h 1898650"/>
                <a:gd name="connsiteX64" fmla="*/ 317500 w 2851150"/>
                <a:gd name="connsiteY64" fmla="*/ 717550 h 1898650"/>
                <a:gd name="connsiteX65" fmla="*/ 247650 w 2851150"/>
                <a:gd name="connsiteY65" fmla="*/ 692150 h 1898650"/>
                <a:gd name="connsiteX66" fmla="*/ 152400 w 2851150"/>
                <a:gd name="connsiteY66" fmla="*/ 825500 h 1898650"/>
                <a:gd name="connsiteX67" fmla="*/ 0 w 2851150"/>
                <a:gd name="connsiteY67" fmla="*/ 838200 h 1898650"/>
                <a:gd name="connsiteX68" fmla="*/ 0 w 2851150"/>
                <a:gd name="connsiteY68" fmla="*/ 971550 h 1898650"/>
                <a:gd name="connsiteX69" fmla="*/ 19050 w 2851150"/>
                <a:gd name="connsiteY69" fmla="*/ 959643 h 1898650"/>
                <a:gd name="connsiteX70" fmla="*/ 63500 w 2851150"/>
                <a:gd name="connsiteY70" fmla="*/ 1130300 h 1898650"/>
                <a:gd name="connsiteX71" fmla="*/ 114300 w 2851150"/>
                <a:gd name="connsiteY71" fmla="*/ 1174750 h 1898650"/>
                <a:gd name="connsiteX72" fmla="*/ 107950 w 2851150"/>
                <a:gd name="connsiteY72" fmla="*/ 1244600 h 1898650"/>
                <a:gd name="connsiteX73" fmla="*/ 50800 w 2851150"/>
                <a:gd name="connsiteY73" fmla="*/ 1333500 h 1898650"/>
                <a:gd name="connsiteX74" fmla="*/ 95250 w 2851150"/>
                <a:gd name="connsiteY74" fmla="*/ 1358900 h 1898650"/>
                <a:gd name="connsiteX75" fmla="*/ 158750 w 2851150"/>
                <a:gd name="connsiteY75" fmla="*/ 1314450 h 1898650"/>
                <a:gd name="connsiteX76" fmla="*/ 247650 w 2851150"/>
                <a:gd name="connsiteY76" fmla="*/ 1308100 h 1898650"/>
                <a:gd name="connsiteX77" fmla="*/ 266700 w 2851150"/>
                <a:gd name="connsiteY77" fmla="*/ 1206500 h 1898650"/>
                <a:gd name="connsiteX78" fmla="*/ 317500 w 2851150"/>
                <a:gd name="connsiteY78" fmla="*/ 1149350 h 1898650"/>
                <a:gd name="connsiteX79" fmla="*/ 387350 w 2851150"/>
                <a:gd name="connsiteY79" fmla="*/ 1149350 h 1898650"/>
                <a:gd name="connsiteX80" fmla="*/ 463550 w 2851150"/>
                <a:gd name="connsiteY80" fmla="*/ 1250950 h 1898650"/>
                <a:gd name="connsiteX81" fmla="*/ 463550 w 2851150"/>
                <a:gd name="connsiteY81" fmla="*/ 1346200 h 1898650"/>
                <a:gd name="connsiteX82" fmla="*/ 527050 w 2851150"/>
                <a:gd name="connsiteY82" fmla="*/ 1416050 h 1898650"/>
                <a:gd name="connsiteX83" fmla="*/ 463550 w 2851150"/>
                <a:gd name="connsiteY83" fmla="*/ 1479550 h 1898650"/>
                <a:gd name="connsiteX84" fmla="*/ 476250 w 2851150"/>
                <a:gd name="connsiteY84" fmla="*/ 1587500 h 1898650"/>
                <a:gd name="connsiteX85" fmla="*/ 431800 w 2851150"/>
                <a:gd name="connsiteY85" fmla="*/ 1695450 h 1898650"/>
                <a:gd name="connsiteX86" fmla="*/ 527050 w 2851150"/>
                <a:gd name="connsiteY86" fmla="*/ 1670050 h 1898650"/>
                <a:gd name="connsiteX87" fmla="*/ 609600 w 2851150"/>
                <a:gd name="connsiteY87" fmla="*/ 1708150 h 1898650"/>
                <a:gd name="connsiteX88" fmla="*/ 685800 w 2851150"/>
                <a:gd name="connsiteY88" fmla="*/ 1612900 h 1898650"/>
                <a:gd name="connsiteX89" fmla="*/ 774700 w 2851150"/>
                <a:gd name="connsiteY89" fmla="*/ 1625600 h 1898650"/>
                <a:gd name="connsiteX90" fmla="*/ 825500 w 2851150"/>
                <a:gd name="connsiteY90" fmla="*/ 1574800 h 1898650"/>
                <a:gd name="connsiteX91" fmla="*/ 812800 w 2851150"/>
                <a:gd name="connsiteY91" fmla="*/ 1657350 h 1898650"/>
                <a:gd name="connsiteX92" fmla="*/ 831850 w 2851150"/>
                <a:gd name="connsiteY92" fmla="*/ 1752600 h 1898650"/>
                <a:gd name="connsiteX93" fmla="*/ 749300 w 2851150"/>
                <a:gd name="connsiteY93" fmla="*/ 1828800 h 1898650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14300 w 2851150"/>
                <a:gd name="connsiteY71" fmla="*/ 1174750 h 1903412"/>
                <a:gd name="connsiteX72" fmla="*/ 107950 w 2851150"/>
                <a:gd name="connsiteY72" fmla="*/ 1244600 h 1903412"/>
                <a:gd name="connsiteX73" fmla="*/ 50800 w 2851150"/>
                <a:gd name="connsiteY73" fmla="*/ 1333500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31800 w 2851150"/>
                <a:gd name="connsiteY85" fmla="*/ 1695450 h 1903412"/>
                <a:gd name="connsiteX86" fmla="*/ 527050 w 2851150"/>
                <a:gd name="connsiteY86" fmla="*/ 167005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31850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14300 w 2851150"/>
                <a:gd name="connsiteY71" fmla="*/ 1174750 h 1903412"/>
                <a:gd name="connsiteX72" fmla="*/ 107950 w 2851150"/>
                <a:gd name="connsiteY72" fmla="*/ 1244600 h 1903412"/>
                <a:gd name="connsiteX73" fmla="*/ 50800 w 2851150"/>
                <a:gd name="connsiteY73" fmla="*/ 1333500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31800 w 2851150"/>
                <a:gd name="connsiteY85" fmla="*/ 1695450 h 1903412"/>
                <a:gd name="connsiteX86" fmla="*/ 527050 w 2851150"/>
                <a:gd name="connsiteY86" fmla="*/ 167005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14300 w 2851150"/>
                <a:gd name="connsiteY71" fmla="*/ 1174750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31800 w 2851150"/>
                <a:gd name="connsiteY85" fmla="*/ 1695450 h 1903412"/>
                <a:gd name="connsiteX86" fmla="*/ 527050 w 2851150"/>
                <a:gd name="connsiteY86" fmla="*/ 167005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31800 w 2851150"/>
                <a:gd name="connsiteY85" fmla="*/ 1695450 h 1903412"/>
                <a:gd name="connsiteX86" fmla="*/ 527050 w 2851150"/>
                <a:gd name="connsiteY86" fmla="*/ 167005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005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12900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199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12800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635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03275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27050 w 2851150"/>
                <a:gd name="connsiteY82" fmla="*/ 1416050 h 1903412"/>
                <a:gd name="connsiteX83" fmla="*/ 4508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03275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14350 w 2851150"/>
                <a:gd name="connsiteY82" fmla="*/ 1422400 h 1903412"/>
                <a:gd name="connsiteX83" fmla="*/ 450850 w 2851150"/>
                <a:gd name="connsiteY83" fmla="*/ 1479550 h 1903412"/>
                <a:gd name="connsiteX84" fmla="*/ 47625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03275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14350 w 2851150"/>
                <a:gd name="connsiteY82" fmla="*/ 1422400 h 1903412"/>
                <a:gd name="connsiteX83" fmla="*/ 450850 w 2851150"/>
                <a:gd name="connsiteY83" fmla="*/ 1479550 h 1903412"/>
                <a:gd name="connsiteX84" fmla="*/ 469900 w 2851150"/>
                <a:gd name="connsiteY84" fmla="*/ 1597025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03275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  <a:gd name="connsiteX0" fmla="*/ 749300 w 2851150"/>
                <a:gd name="connsiteY0" fmla="*/ 1828800 h 1903412"/>
                <a:gd name="connsiteX1" fmla="*/ 755650 w 2851150"/>
                <a:gd name="connsiteY1" fmla="*/ 1903412 h 1903412"/>
                <a:gd name="connsiteX2" fmla="*/ 908050 w 2851150"/>
                <a:gd name="connsiteY2" fmla="*/ 1892300 h 1903412"/>
                <a:gd name="connsiteX3" fmla="*/ 1117600 w 2851150"/>
                <a:gd name="connsiteY3" fmla="*/ 1892300 h 1903412"/>
                <a:gd name="connsiteX4" fmla="*/ 1276350 w 2851150"/>
                <a:gd name="connsiteY4" fmla="*/ 1828800 h 1903412"/>
                <a:gd name="connsiteX5" fmla="*/ 1504950 w 2851150"/>
                <a:gd name="connsiteY5" fmla="*/ 1835150 h 1903412"/>
                <a:gd name="connsiteX6" fmla="*/ 1543050 w 2851150"/>
                <a:gd name="connsiteY6" fmla="*/ 1568450 h 1903412"/>
                <a:gd name="connsiteX7" fmla="*/ 1689100 w 2851150"/>
                <a:gd name="connsiteY7" fmla="*/ 1517650 h 1903412"/>
                <a:gd name="connsiteX8" fmla="*/ 1797050 w 2851150"/>
                <a:gd name="connsiteY8" fmla="*/ 1587500 h 1903412"/>
                <a:gd name="connsiteX9" fmla="*/ 1905000 w 2851150"/>
                <a:gd name="connsiteY9" fmla="*/ 1587500 h 1903412"/>
                <a:gd name="connsiteX10" fmla="*/ 1924050 w 2851150"/>
                <a:gd name="connsiteY10" fmla="*/ 1689100 h 1903412"/>
                <a:gd name="connsiteX11" fmla="*/ 2057400 w 2851150"/>
                <a:gd name="connsiteY11" fmla="*/ 1670050 h 1903412"/>
                <a:gd name="connsiteX12" fmla="*/ 2057400 w 2851150"/>
                <a:gd name="connsiteY12" fmla="*/ 1765300 h 1903412"/>
                <a:gd name="connsiteX13" fmla="*/ 2146300 w 2851150"/>
                <a:gd name="connsiteY13" fmla="*/ 1752600 h 1903412"/>
                <a:gd name="connsiteX14" fmla="*/ 2184400 w 2851150"/>
                <a:gd name="connsiteY14" fmla="*/ 1631950 h 1903412"/>
                <a:gd name="connsiteX15" fmla="*/ 2305050 w 2851150"/>
                <a:gd name="connsiteY15" fmla="*/ 1619250 h 1903412"/>
                <a:gd name="connsiteX16" fmla="*/ 2381250 w 2851150"/>
                <a:gd name="connsiteY16" fmla="*/ 1543050 h 1903412"/>
                <a:gd name="connsiteX17" fmla="*/ 2393950 w 2851150"/>
                <a:gd name="connsiteY17" fmla="*/ 1454150 h 1903412"/>
                <a:gd name="connsiteX18" fmla="*/ 2470150 w 2851150"/>
                <a:gd name="connsiteY18" fmla="*/ 1460500 h 1903412"/>
                <a:gd name="connsiteX19" fmla="*/ 2552700 w 2851150"/>
                <a:gd name="connsiteY19" fmla="*/ 1377950 h 1903412"/>
                <a:gd name="connsiteX20" fmla="*/ 2660650 w 2851150"/>
                <a:gd name="connsiteY20" fmla="*/ 1447800 h 1903412"/>
                <a:gd name="connsiteX21" fmla="*/ 2787650 w 2851150"/>
                <a:gd name="connsiteY21" fmla="*/ 1257300 h 1903412"/>
                <a:gd name="connsiteX22" fmla="*/ 2806700 w 2851150"/>
                <a:gd name="connsiteY22" fmla="*/ 1079500 h 1903412"/>
                <a:gd name="connsiteX23" fmla="*/ 2851150 w 2851150"/>
                <a:gd name="connsiteY23" fmla="*/ 958850 h 1903412"/>
                <a:gd name="connsiteX24" fmla="*/ 2730500 w 2851150"/>
                <a:gd name="connsiteY24" fmla="*/ 952500 h 1903412"/>
                <a:gd name="connsiteX25" fmla="*/ 2667000 w 2851150"/>
                <a:gd name="connsiteY25" fmla="*/ 1009650 h 1903412"/>
                <a:gd name="connsiteX26" fmla="*/ 2578100 w 2851150"/>
                <a:gd name="connsiteY26" fmla="*/ 965200 h 1903412"/>
                <a:gd name="connsiteX27" fmla="*/ 2578100 w 2851150"/>
                <a:gd name="connsiteY27" fmla="*/ 800100 h 1903412"/>
                <a:gd name="connsiteX28" fmla="*/ 2635250 w 2851150"/>
                <a:gd name="connsiteY28" fmla="*/ 711200 h 1903412"/>
                <a:gd name="connsiteX29" fmla="*/ 2546350 w 2851150"/>
                <a:gd name="connsiteY29" fmla="*/ 660400 h 1903412"/>
                <a:gd name="connsiteX30" fmla="*/ 2540000 w 2851150"/>
                <a:gd name="connsiteY30" fmla="*/ 552450 h 1903412"/>
                <a:gd name="connsiteX31" fmla="*/ 2482850 w 2851150"/>
                <a:gd name="connsiteY31" fmla="*/ 501650 h 1903412"/>
                <a:gd name="connsiteX32" fmla="*/ 2482850 w 2851150"/>
                <a:gd name="connsiteY32" fmla="*/ 457200 h 1903412"/>
                <a:gd name="connsiteX33" fmla="*/ 2400300 w 2851150"/>
                <a:gd name="connsiteY33" fmla="*/ 457200 h 1903412"/>
                <a:gd name="connsiteX34" fmla="*/ 2387600 w 2851150"/>
                <a:gd name="connsiteY34" fmla="*/ 254000 h 1903412"/>
                <a:gd name="connsiteX35" fmla="*/ 2482850 w 2851150"/>
                <a:gd name="connsiteY35" fmla="*/ 209550 h 1903412"/>
                <a:gd name="connsiteX36" fmla="*/ 2463800 w 2851150"/>
                <a:gd name="connsiteY36" fmla="*/ 107950 h 1903412"/>
                <a:gd name="connsiteX37" fmla="*/ 2400300 w 2851150"/>
                <a:gd name="connsiteY37" fmla="*/ 69850 h 1903412"/>
                <a:gd name="connsiteX38" fmla="*/ 2254250 w 2851150"/>
                <a:gd name="connsiteY38" fmla="*/ 95250 h 1903412"/>
                <a:gd name="connsiteX39" fmla="*/ 2139950 w 2851150"/>
                <a:gd name="connsiteY39" fmla="*/ 82550 h 1903412"/>
                <a:gd name="connsiteX40" fmla="*/ 2089150 w 2851150"/>
                <a:gd name="connsiteY40" fmla="*/ 63500 h 1903412"/>
                <a:gd name="connsiteX41" fmla="*/ 1981200 w 2851150"/>
                <a:gd name="connsiteY41" fmla="*/ 76200 h 1903412"/>
                <a:gd name="connsiteX42" fmla="*/ 1860550 w 2851150"/>
                <a:gd name="connsiteY42" fmla="*/ 38100 h 1903412"/>
                <a:gd name="connsiteX43" fmla="*/ 1746250 w 2851150"/>
                <a:gd name="connsiteY43" fmla="*/ 88900 h 1903412"/>
                <a:gd name="connsiteX44" fmla="*/ 1670050 w 2851150"/>
                <a:gd name="connsiteY44" fmla="*/ 38100 h 1903412"/>
                <a:gd name="connsiteX45" fmla="*/ 1612900 w 2851150"/>
                <a:gd name="connsiteY45" fmla="*/ 38100 h 1903412"/>
                <a:gd name="connsiteX46" fmla="*/ 1555750 w 2851150"/>
                <a:gd name="connsiteY46" fmla="*/ 0 h 1903412"/>
                <a:gd name="connsiteX47" fmla="*/ 1384300 w 2851150"/>
                <a:gd name="connsiteY47" fmla="*/ 19050 h 1903412"/>
                <a:gd name="connsiteX48" fmla="*/ 1231900 w 2851150"/>
                <a:gd name="connsiteY48" fmla="*/ 50800 h 1903412"/>
                <a:gd name="connsiteX49" fmla="*/ 1149350 w 2851150"/>
                <a:gd name="connsiteY49" fmla="*/ 165100 h 1903412"/>
                <a:gd name="connsiteX50" fmla="*/ 1073150 w 2851150"/>
                <a:gd name="connsiteY50" fmla="*/ 203200 h 1903412"/>
                <a:gd name="connsiteX51" fmla="*/ 1054100 w 2851150"/>
                <a:gd name="connsiteY51" fmla="*/ 114300 h 1903412"/>
                <a:gd name="connsiteX52" fmla="*/ 889000 w 2851150"/>
                <a:gd name="connsiteY52" fmla="*/ 158750 h 1903412"/>
                <a:gd name="connsiteX53" fmla="*/ 800100 w 2851150"/>
                <a:gd name="connsiteY53" fmla="*/ 120650 h 1903412"/>
                <a:gd name="connsiteX54" fmla="*/ 692150 w 2851150"/>
                <a:gd name="connsiteY54" fmla="*/ 209550 h 1903412"/>
                <a:gd name="connsiteX55" fmla="*/ 730250 w 2851150"/>
                <a:gd name="connsiteY55" fmla="*/ 260350 h 1903412"/>
                <a:gd name="connsiteX56" fmla="*/ 685800 w 2851150"/>
                <a:gd name="connsiteY56" fmla="*/ 304800 h 1903412"/>
                <a:gd name="connsiteX57" fmla="*/ 736600 w 2851150"/>
                <a:gd name="connsiteY57" fmla="*/ 400050 h 1903412"/>
                <a:gd name="connsiteX58" fmla="*/ 590550 w 2851150"/>
                <a:gd name="connsiteY58" fmla="*/ 450850 h 1903412"/>
                <a:gd name="connsiteX59" fmla="*/ 508000 w 2851150"/>
                <a:gd name="connsiteY59" fmla="*/ 368300 h 1903412"/>
                <a:gd name="connsiteX60" fmla="*/ 463550 w 2851150"/>
                <a:gd name="connsiteY60" fmla="*/ 419100 h 1903412"/>
                <a:gd name="connsiteX61" fmla="*/ 469900 w 2851150"/>
                <a:gd name="connsiteY61" fmla="*/ 457200 h 1903412"/>
                <a:gd name="connsiteX62" fmla="*/ 400050 w 2851150"/>
                <a:gd name="connsiteY62" fmla="*/ 577850 h 1903412"/>
                <a:gd name="connsiteX63" fmla="*/ 342900 w 2851150"/>
                <a:gd name="connsiteY63" fmla="*/ 577850 h 1903412"/>
                <a:gd name="connsiteX64" fmla="*/ 317500 w 2851150"/>
                <a:gd name="connsiteY64" fmla="*/ 717550 h 1903412"/>
                <a:gd name="connsiteX65" fmla="*/ 247650 w 2851150"/>
                <a:gd name="connsiteY65" fmla="*/ 692150 h 1903412"/>
                <a:gd name="connsiteX66" fmla="*/ 152400 w 2851150"/>
                <a:gd name="connsiteY66" fmla="*/ 825500 h 1903412"/>
                <a:gd name="connsiteX67" fmla="*/ 0 w 2851150"/>
                <a:gd name="connsiteY67" fmla="*/ 838200 h 1903412"/>
                <a:gd name="connsiteX68" fmla="*/ 0 w 2851150"/>
                <a:gd name="connsiteY68" fmla="*/ 971550 h 1903412"/>
                <a:gd name="connsiteX69" fmla="*/ 19050 w 2851150"/>
                <a:gd name="connsiteY69" fmla="*/ 959643 h 1903412"/>
                <a:gd name="connsiteX70" fmla="*/ 63500 w 2851150"/>
                <a:gd name="connsiteY70" fmla="*/ 1130300 h 1903412"/>
                <a:gd name="connsiteX71" fmla="*/ 104775 w 2851150"/>
                <a:gd name="connsiteY71" fmla="*/ 1177925 h 1903412"/>
                <a:gd name="connsiteX72" fmla="*/ 107950 w 2851150"/>
                <a:gd name="connsiteY72" fmla="*/ 1244600 h 1903412"/>
                <a:gd name="connsiteX73" fmla="*/ 38100 w 2851150"/>
                <a:gd name="connsiteY73" fmla="*/ 1330325 h 1903412"/>
                <a:gd name="connsiteX74" fmla="*/ 95250 w 2851150"/>
                <a:gd name="connsiteY74" fmla="*/ 1358900 h 1903412"/>
                <a:gd name="connsiteX75" fmla="*/ 158750 w 2851150"/>
                <a:gd name="connsiteY75" fmla="*/ 1314450 h 1903412"/>
                <a:gd name="connsiteX76" fmla="*/ 247650 w 2851150"/>
                <a:gd name="connsiteY76" fmla="*/ 1308100 h 1903412"/>
                <a:gd name="connsiteX77" fmla="*/ 266700 w 2851150"/>
                <a:gd name="connsiteY77" fmla="*/ 1206500 h 1903412"/>
                <a:gd name="connsiteX78" fmla="*/ 317500 w 2851150"/>
                <a:gd name="connsiteY78" fmla="*/ 1149350 h 1903412"/>
                <a:gd name="connsiteX79" fmla="*/ 387350 w 2851150"/>
                <a:gd name="connsiteY79" fmla="*/ 1149350 h 1903412"/>
                <a:gd name="connsiteX80" fmla="*/ 463550 w 2851150"/>
                <a:gd name="connsiteY80" fmla="*/ 1250950 h 1903412"/>
                <a:gd name="connsiteX81" fmla="*/ 463550 w 2851150"/>
                <a:gd name="connsiteY81" fmla="*/ 1346200 h 1903412"/>
                <a:gd name="connsiteX82" fmla="*/ 514350 w 2851150"/>
                <a:gd name="connsiteY82" fmla="*/ 1422400 h 1903412"/>
                <a:gd name="connsiteX83" fmla="*/ 450850 w 2851150"/>
                <a:gd name="connsiteY83" fmla="*/ 1479550 h 1903412"/>
                <a:gd name="connsiteX84" fmla="*/ 469900 w 2851150"/>
                <a:gd name="connsiteY84" fmla="*/ 1587500 h 1903412"/>
                <a:gd name="connsiteX85" fmla="*/ 419100 w 2851150"/>
                <a:gd name="connsiteY85" fmla="*/ 1689100 h 1903412"/>
                <a:gd name="connsiteX86" fmla="*/ 527050 w 2851150"/>
                <a:gd name="connsiteY86" fmla="*/ 1676400 h 1903412"/>
                <a:gd name="connsiteX87" fmla="*/ 609600 w 2851150"/>
                <a:gd name="connsiteY87" fmla="*/ 1708150 h 1903412"/>
                <a:gd name="connsiteX88" fmla="*/ 685800 w 2851150"/>
                <a:gd name="connsiteY88" fmla="*/ 1622425 h 1903412"/>
                <a:gd name="connsiteX89" fmla="*/ 774700 w 2851150"/>
                <a:gd name="connsiteY89" fmla="*/ 1625600 h 1903412"/>
                <a:gd name="connsiteX90" fmla="*/ 825500 w 2851150"/>
                <a:gd name="connsiteY90" fmla="*/ 1574800 h 1903412"/>
                <a:gd name="connsiteX91" fmla="*/ 803275 w 2851150"/>
                <a:gd name="connsiteY91" fmla="*/ 1657350 h 1903412"/>
                <a:gd name="connsiteX92" fmla="*/ 807244 w 2851150"/>
                <a:gd name="connsiteY92" fmla="*/ 1752600 h 1903412"/>
                <a:gd name="connsiteX93" fmla="*/ 749300 w 2851150"/>
                <a:gd name="connsiteY93" fmla="*/ 1828800 h 190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851150" h="1903412">
                  <a:moveTo>
                    <a:pt x="749300" y="1828800"/>
                  </a:moveTo>
                  <a:lnTo>
                    <a:pt x="755650" y="1903412"/>
                  </a:lnTo>
                  <a:cubicBezTo>
                    <a:pt x="780256" y="1900766"/>
                    <a:pt x="847725" y="1894152"/>
                    <a:pt x="908050" y="1892300"/>
                  </a:cubicBezTo>
                  <a:cubicBezTo>
                    <a:pt x="968375" y="1890448"/>
                    <a:pt x="1056217" y="1902883"/>
                    <a:pt x="1117600" y="1892300"/>
                  </a:cubicBezTo>
                  <a:lnTo>
                    <a:pt x="1276350" y="1828800"/>
                  </a:lnTo>
                  <a:lnTo>
                    <a:pt x="1504950" y="1835150"/>
                  </a:lnTo>
                  <a:lnTo>
                    <a:pt x="1543050" y="1568450"/>
                  </a:lnTo>
                  <a:lnTo>
                    <a:pt x="1689100" y="1517650"/>
                  </a:lnTo>
                  <a:lnTo>
                    <a:pt x="1797050" y="1587500"/>
                  </a:lnTo>
                  <a:lnTo>
                    <a:pt x="1905000" y="1587500"/>
                  </a:lnTo>
                  <a:lnTo>
                    <a:pt x="1924050" y="1689100"/>
                  </a:lnTo>
                  <a:lnTo>
                    <a:pt x="2057400" y="1670050"/>
                  </a:lnTo>
                  <a:lnTo>
                    <a:pt x="2057400" y="1765300"/>
                  </a:lnTo>
                  <a:lnTo>
                    <a:pt x="2146300" y="1752600"/>
                  </a:lnTo>
                  <a:lnTo>
                    <a:pt x="2184400" y="1631950"/>
                  </a:lnTo>
                  <a:lnTo>
                    <a:pt x="2305050" y="1619250"/>
                  </a:lnTo>
                  <a:lnTo>
                    <a:pt x="2381250" y="1543050"/>
                  </a:lnTo>
                  <a:lnTo>
                    <a:pt x="2393950" y="1454150"/>
                  </a:lnTo>
                  <a:lnTo>
                    <a:pt x="2470150" y="1460500"/>
                  </a:lnTo>
                  <a:lnTo>
                    <a:pt x="2552700" y="1377950"/>
                  </a:lnTo>
                  <a:lnTo>
                    <a:pt x="2660650" y="1447800"/>
                  </a:lnTo>
                  <a:lnTo>
                    <a:pt x="2787650" y="1257300"/>
                  </a:lnTo>
                  <a:lnTo>
                    <a:pt x="2806700" y="1079500"/>
                  </a:lnTo>
                  <a:lnTo>
                    <a:pt x="2851150" y="958850"/>
                  </a:lnTo>
                  <a:lnTo>
                    <a:pt x="2730500" y="952500"/>
                  </a:lnTo>
                  <a:lnTo>
                    <a:pt x="2667000" y="1009650"/>
                  </a:lnTo>
                  <a:lnTo>
                    <a:pt x="2578100" y="965200"/>
                  </a:lnTo>
                  <a:lnTo>
                    <a:pt x="2578100" y="800100"/>
                  </a:lnTo>
                  <a:lnTo>
                    <a:pt x="2635250" y="711200"/>
                  </a:lnTo>
                  <a:lnTo>
                    <a:pt x="2546350" y="660400"/>
                  </a:lnTo>
                  <a:lnTo>
                    <a:pt x="2540000" y="552450"/>
                  </a:lnTo>
                  <a:lnTo>
                    <a:pt x="2482850" y="501650"/>
                  </a:lnTo>
                  <a:lnTo>
                    <a:pt x="2482850" y="457200"/>
                  </a:lnTo>
                  <a:lnTo>
                    <a:pt x="2400300" y="457200"/>
                  </a:lnTo>
                  <a:lnTo>
                    <a:pt x="2387600" y="254000"/>
                  </a:lnTo>
                  <a:lnTo>
                    <a:pt x="2482850" y="209550"/>
                  </a:lnTo>
                  <a:lnTo>
                    <a:pt x="2463800" y="107950"/>
                  </a:lnTo>
                  <a:lnTo>
                    <a:pt x="2400300" y="69850"/>
                  </a:lnTo>
                  <a:lnTo>
                    <a:pt x="2254250" y="95250"/>
                  </a:lnTo>
                  <a:lnTo>
                    <a:pt x="2139950" y="82550"/>
                  </a:lnTo>
                  <a:lnTo>
                    <a:pt x="2089150" y="63500"/>
                  </a:lnTo>
                  <a:lnTo>
                    <a:pt x="1981200" y="76200"/>
                  </a:lnTo>
                  <a:lnTo>
                    <a:pt x="1860550" y="38100"/>
                  </a:lnTo>
                  <a:lnTo>
                    <a:pt x="1746250" y="88900"/>
                  </a:lnTo>
                  <a:lnTo>
                    <a:pt x="1670050" y="38100"/>
                  </a:lnTo>
                  <a:lnTo>
                    <a:pt x="1612900" y="38100"/>
                  </a:lnTo>
                  <a:lnTo>
                    <a:pt x="1555750" y="0"/>
                  </a:lnTo>
                  <a:lnTo>
                    <a:pt x="1384300" y="19050"/>
                  </a:lnTo>
                  <a:lnTo>
                    <a:pt x="1231900" y="50800"/>
                  </a:lnTo>
                  <a:lnTo>
                    <a:pt x="1149350" y="165100"/>
                  </a:lnTo>
                  <a:lnTo>
                    <a:pt x="1073150" y="203200"/>
                  </a:lnTo>
                  <a:lnTo>
                    <a:pt x="1054100" y="114300"/>
                  </a:lnTo>
                  <a:lnTo>
                    <a:pt x="889000" y="158750"/>
                  </a:lnTo>
                  <a:lnTo>
                    <a:pt x="800100" y="120650"/>
                  </a:lnTo>
                  <a:lnTo>
                    <a:pt x="692150" y="209550"/>
                  </a:lnTo>
                  <a:lnTo>
                    <a:pt x="730250" y="260350"/>
                  </a:lnTo>
                  <a:lnTo>
                    <a:pt x="685800" y="304800"/>
                  </a:lnTo>
                  <a:lnTo>
                    <a:pt x="736600" y="400050"/>
                  </a:lnTo>
                  <a:lnTo>
                    <a:pt x="590550" y="450850"/>
                  </a:lnTo>
                  <a:lnTo>
                    <a:pt x="508000" y="368300"/>
                  </a:lnTo>
                  <a:lnTo>
                    <a:pt x="463550" y="419100"/>
                  </a:lnTo>
                  <a:lnTo>
                    <a:pt x="469900" y="457200"/>
                  </a:lnTo>
                  <a:lnTo>
                    <a:pt x="400050" y="577850"/>
                  </a:lnTo>
                  <a:lnTo>
                    <a:pt x="342900" y="577850"/>
                  </a:lnTo>
                  <a:lnTo>
                    <a:pt x="317500" y="717550"/>
                  </a:lnTo>
                  <a:lnTo>
                    <a:pt x="247650" y="692150"/>
                  </a:lnTo>
                  <a:lnTo>
                    <a:pt x="152400" y="825500"/>
                  </a:lnTo>
                  <a:lnTo>
                    <a:pt x="0" y="838200"/>
                  </a:lnTo>
                  <a:lnTo>
                    <a:pt x="0" y="971550"/>
                  </a:lnTo>
                  <a:lnTo>
                    <a:pt x="19050" y="959643"/>
                  </a:lnTo>
                  <a:lnTo>
                    <a:pt x="63500" y="1130300"/>
                  </a:lnTo>
                  <a:lnTo>
                    <a:pt x="104775" y="1177925"/>
                  </a:lnTo>
                  <a:lnTo>
                    <a:pt x="107950" y="1244600"/>
                  </a:lnTo>
                  <a:lnTo>
                    <a:pt x="38100" y="1330325"/>
                  </a:lnTo>
                  <a:lnTo>
                    <a:pt x="95250" y="1358900"/>
                  </a:lnTo>
                  <a:lnTo>
                    <a:pt x="158750" y="1314450"/>
                  </a:lnTo>
                  <a:lnTo>
                    <a:pt x="247650" y="1308100"/>
                  </a:lnTo>
                  <a:lnTo>
                    <a:pt x="266700" y="1206500"/>
                  </a:lnTo>
                  <a:lnTo>
                    <a:pt x="317500" y="1149350"/>
                  </a:lnTo>
                  <a:lnTo>
                    <a:pt x="387350" y="1149350"/>
                  </a:lnTo>
                  <a:lnTo>
                    <a:pt x="463550" y="1250950"/>
                  </a:lnTo>
                  <a:lnTo>
                    <a:pt x="463550" y="1346200"/>
                  </a:lnTo>
                  <a:cubicBezTo>
                    <a:pt x="484717" y="1369483"/>
                    <a:pt x="516467" y="1400175"/>
                    <a:pt x="514350" y="1422400"/>
                  </a:cubicBezTo>
                  <a:cubicBezTo>
                    <a:pt x="512233" y="1444625"/>
                    <a:pt x="476250" y="1458383"/>
                    <a:pt x="450850" y="1479550"/>
                  </a:cubicBezTo>
                  <a:lnTo>
                    <a:pt x="469900" y="1587500"/>
                  </a:lnTo>
                  <a:lnTo>
                    <a:pt x="419100" y="1689100"/>
                  </a:lnTo>
                  <a:lnTo>
                    <a:pt x="527050" y="1676400"/>
                  </a:lnTo>
                  <a:lnTo>
                    <a:pt x="609600" y="1708150"/>
                  </a:lnTo>
                  <a:lnTo>
                    <a:pt x="685800" y="1622425"/>
                  </a:lnTo>
                  <a:lnTo>
                    <a:pt x="774700" y="1625600"/>
                  </a:lnTo>
                  <a:lnTo>
                    <a:pt x="825500" y="1574800"/>
                  </a:lnTo>
                  <a:lnTo>
                    <a:pt x="803275" y="1657350"/>
                  </a:lnTo>
                  <a:lnTo>
                    <a:pt x="807244" y="1752600"/>
                  </a:lnTo>
                  <a:lnTo>
                    <a:pt x="749300" y="182880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Voľná forma 24">
              <a:extLst>
                <a:ext uri="{FF2B5EF4-FFF2-40B4-BE49-F238E27FC236}">
                  <a16:creationId xmlns:a16="http://schemas.microsoft.com/office/drawing/2014/main" id="{0388DEE8-0CD0-442F-BE72-51159449E82A}"/>
                </a:ext>
              </a:extLst>
            </p:cNvPr>
            <p:cNvSpPr/>
            <p:nvPr/>
          </p:nvSpPr>
          <p:spPr>
            <a:xfrm>
              <a:off x="5162551" y="2454276"/>
              <a:ext cx="3172618" cy="1365250"/>
            </a:xfrm>
            <a:custGeom>
              <a:avLst/>
              <a:gdLst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479425 w 3165475"/>
                <a:gd name="connsiteY2" fmla="*/ 1114425 h 1349375"/>
                <a:gd name="connsiteX3" fmla="*/ 498475 w 3165475"/>
                <a:gd name="connsiteY3" fmla="*/ 1095375 h 1349375"/>
                <a:gd name="connsiteX4" fmla="*/ 508000 w 3165475"/>
                <a:gd name="connsiteY4" fmla="*/ 1085850 h 1349375"/>
                <a:gd name="connsiteX5" fmla="*/ 527050 w 3165475"/>
                <a:gd name="connsiteY5" fmla="*/ 1060450 h 1349375"/>
                <a:gd name="connsiteX6" fmla="*/ 520700 w 3165475"/>
                <a:gd name="connsiteY6" fmla="*/ 987425 h 1349375"/>
                <a:gd name="connsiteX7" fmla="*/ 720725 w 3165475"/>
                <a:gd name="connsiteY7" fmla="*/ 955675 h 1349375"/>
                <a:gd name="connsiteX8" fmla="*/ 895350 w 3165475"/>
                <a:gd name="connsiteY8" fmla="*/ 901700 h 1349375"/>
                <a:gd name="connsiteX9" fmla="*/ 1111250 w 3165475"/>
                <a:gd name="connsiteY9" fmla="*/ 952500 h 1349375"/>
                <a:gd name="connsiteX10" fmla="*/ 1174750 w 3165475"/>
                <a:gd name="connsiteY10" fmla="*/ 1019175 h 1349375"/>
                <a:gd name="connsiteX11" fmla="*/ 1298575 w 3165475"/>
                <a:gd name="connsiteY11" fmla="*/ 996950 h 1349375"/>
                <a:gd name="connsiteX12" fmla="*/ 1419225 w 3165475"/>
                <a:gd name="connsiteY12" fmla="*/ 1054100 h 1349375"/>
                <a:gd name="connsiteX13" fmla="*/ 1514475 w 3165475"/>
                <a:gd name="connsiteY13" fmla="*/ 987425 h 1349375"/>
                <a:gd name="connsiteX14" fmla="*/ 1622425 w 3165475"/>
                <a:gd name="connsiteY14" fmla="*/ 996950 h 1349375"/>
                <a:gd name="connsiteX15" fmla="*/ 1698625 w 3165475"/>
                <a:gd name="connsiteY15" fmla="*/ 908050 h 1349375"/>
                <a:gd name="connsiteX16" fmla="*/ 1882775 w 3165475"/>
                <a:gd name="connsiteY16" fmla="*/ 876300 h 1349375"/>
                <a:gd name="connsiteX17" fmla="*/ 1971675 w 3165475"/>
                <a:gd name="connsiteY17" fmla="*/ 942975 h 1349375"/>
                <a:gd name="connsiteX18" fmla="*/ 2032000 w 3165475"/>
                <a:gd name="connsiteY18" fmla="*/ 1022350 h 1349375"/>
                <a:gd name="connsiteX19" fmla="*/ 2124075 w 3165475"/>
                <a:gd name="connsiteY19" fmla="*/ 1006475 h 1349375"/>
                <a:gd name="connsiteX20" fmla="*/ 2203450 w 3165475"/>
                <a:gd name="connsiteY20" fmla="*/ 1222375 h 1349375"/>
                <a:gd name="connsiteX21" fmla="*/ 2301875 w 3165475"/>
                <a:gd name="connsiteY21" fmla="*/ 1339850 h 1349375"/>
                <a:gd name="connsiteX22" fmla="*/ 2441575 w 3165475"/>
                <a:gd name="connsiteY22" fmla="*/ 1349375 h 1349375"/>
                <a:gd name="connsiteX23" fmla="*/ 2622550 w 3165475"/>
                <a:gd name="connsiteY23" fmla="*/ 1241425 h 1349375"/>
                <a:gd name="connsiteX24" fmla="*/ 2705100 w 3165475"/>
                <a:gd name="connsiteY24" fmla="*/ 1260475 h 1349375"/>
                <a:gd name="connsiteX25" fmla="*/ 2867025 w 3165475"/>
                <a:gd name="connsiteY25" fmla="*/ 1244600 h 1349375"/>
                <a:gd name="connsiteX26" fmla="*/ 2898775 w 3165475"/>
                <a:gd name="connsiteY26" fmla="*/ 1143000 h 1349375"/>
                <a:gd name="connsiteX27" fmla="*/ 2876550 w 3165475"/>
                <a:gd name="connsiteY27" fmla="*/ 1016000 h 1349375"/>
                <a:gd name="connsiteX28" fmla="*/ 2921000 w 3165475"/>
                <a:gd name="connsiteY28" fmla="*/ 936625 h 1349375"/>
                <a:gd name="connsiteX29" fmla="*/ 2889250 w 3165475"/>
                <a:gd name="connsiteY29" fmla="*/ 771525 h 1349375"/>
                <a:gd name="connsiteX30" fmla="*/ 2974975 w 3165475"/>
                <a:gd name="connsiteY30" fmla="*/ 704850 h 1349375"/>
                <a:gd name="connsiteX31" fmla="*/ 3016250 w 3165475"/>
                <a:gd name="connsiteY31" fmla="*/ 593725 h 1349375"/>
                <a:gd name="connsiteX32" fmla="*/ 3127375 w 3165475"/>
                <a:gd name="connsiteY32" fmla="*/ 549275 h 1349375"/>
                <a:gd name="connsiteX33" fmla="*/ 3117850 w 3165475"/>
                <a:gd name="connsiteY33" fmla="*/ 371475 h 1349375"/>
                <a:gd name="connsiteX34" fmla="*/ 3165475 w 3165475"/>
                <a:gd name="connsiteY34" fmla="*/ 304800 h 1349375"/>
                <a:gd name="connsiteX35" fmla="*/ 3162300 w 3165475"/>
                <a:gd name="connsiteY35" fmla="*/ 142875 h 1349375"/>
                <a:gd name="connsiteX36" fmla="*/ 2924175 w 3165475"/>
                <a:gd name="connsiteY36" fmla="*/ 168275 h 1349375"/>
                <a:gd name="connsiteX37" fmla="*/ 2857500 w 3165475"/>
                <a:gd name="connsiteY37" fmla="*/ 34925 h 1349375"/>
                <a:gd name="connsiteX38" fmla="*/ 2740025 w 3165475"/>
                <a:gd name="connsiteY38" fmla="*/ 168275 h 1349375"/>
                <a:gd name="connsiteX39" fmla="*/ 2746375 w 3165475"/>
                <a:gd name="connsiteY39" fmla="*/ 234950 h 1349375"/>
                <a:gd name="connsiteX40" fmla="*/ 2543175 w 3165475"/>
                <a:gd name="connsiteY40" fmla="*/ 257175 h 1349375"/>
                <a:gd name="connsiteX41" fmla="*/ 2371725 w 3165475"/>
                <a:gd name="connsiteY41" fmla="*/ 155575 h 1349375"/>
                <a:gd name="connsiteX42" fmla="*/ 2254250 w 3165475"/>
                <a:gd name="connsiteY42" fmla="*/ 130175 h 1349375"/>
                <a:gd name="connsiteX43" fmla="*/ 2276475 w 3165475"/>
                <a:gd name="connsiteY43" fmla="*/ 203200 h 1349375"/>
                <a:gd name="connsiteX44" fmla="*/ 2241550 w 3165475"/>
                <a:gd name="connsiteY44" fmla="*/ 276225 h 1349375"/>
                <a:gd name="connsiteX45" fmla="*/ 2308225 w 3165475"/>
                <a:gd name="connsiteY45" fmla="*/ 384175 h 1349375"/>
                <a:gd name="connsiteX46" fmla="*/ 2111375 w 3165475"/>
                <a:gd name="connsiteY46" fmla="*/ 450850 h 1349375"/>
                <a:gd name="connsiteX47" fmla="*/ 2047875 w 3165475"/>
                <a:gd name="connsiteY47" fmla="*/ 406400 h 1349375"/>
                <a:gd name="connsiteX48" fmla="*/ 1908175 w 3165475"/>
                <a:gd name="connsiteY48" fmla="*/ 374650 h 1349375"/>
                <a:gd name="connsiteX49" fmla="*/ 1892300 w 3165475"/>
                <a:gd name="connsiteY49" fmla="*/ 288925 h 1349375"/>
                <a:gd name="connsiteX50" fmla="*/ 1819275 w 3165475"/>
                <a:gd name="connsiteY50" fmla="*/ 206375 h 1349375"/>
                <a:gd name="connsiteX51" fmla="*/ 1730375 w 3165475"/>
                <a:gd name="connsiteY51" fmla="*/ 193675 h 1349375"/>
                <a:gd name="connsiteX52" fmla="*/ 1676400 w 3165475"/>
                <a:gd name="connsiteY52" fmla="*/ 219075 h 1349375"/>
                <a:gd name="connsiteX53" fmla="*/ 1704975 w 3165475"/>
                <a:gd name="connsiteY53" fmla="*/ 304800 h 1349375"/>
                <a:gd name="connsiteX54" fmla="*/ 1606550 w 3165475"/>
                <a:gd name="connsiteY54" fmla="*/ 295275 h 1349375"/>
                <a:gd name="connsiteX55" fmla="*/ 1587500 w 3165475"/>
                <a:gd name="connsiteY55" fmla="*/ 346075 h 1349375"/>
                <a:gd name="connsiteX56" fmla="*/ 1485900 w 3165475"/>
                <a:gd name="connsiteY56" fmla="*/ 311150 h 1349375"/>
                <a:gd name="connsiteX57" fmla="*/ 1501775 w 3165475"/>
                <a:gd name="connsiteY57" fmla="*/ 241300 h 1349375"/>
                <a:gd name="connsiteX58" fmla="*/ 1447800 w 3165475"/>
                <a:gd name="connsiteY58" fmla="*/ 219075 h 1349375"/>
                <a:gd name="connsiteX59" fmla="*/ 1409700 w 3165475"/>
                <a:gd name="connsiteY59" fmla="*/ 238125 h 1349375"/>
                <a:gd name="connsiteX60" fmla="*/ 1371600 w 3165475"/>
                <a:gd name="connsiteY60" fmla="*/ 196850 h 1349375"/>
                <a:gd name="connsiteX61" fmla="*/ 1314450 w 3165475"/>
                <a:gd name="connsiteY61" fmla="*/ 215900 h 1349375"/>
                <a:gd name="connsiteX62" fmla="*/ 1244600 w 3165475"/>
                <a:gd name="connsiteY62" fmla="*/ 180975 h 1349375"/>
                <a:gd name="connsiteX63" fmla="*/ 1184275 w 3165475"/>
                <a:gd name="connsiteY63" fmla="*/ 203200 h 1349375"/>
                <a:gd name="connsiteX64" fmla="*/ 1133475 w 3165475"/>
                <a:gd name="connsiteY64" fmla="*/ 79375 h 1349375"/>
                <a:gd name="connsiteX65" fmla="*/ 981075 w 3165475"/>
                <a:gd name="connsiteY65" fmla="*/ 76200 h 1349375"/>
                <a:gd name="connsiteX66" fmla="*/ 825500 w 3165475"/>
                <a:gd name="connsiteY66" fmla="*/ 0 h 1349375"/>
                <a:gd name="connsiteX67" fmla="*/ 819150 w 3165475"/>
                <a:gd name="connsiteY67" fmla="*/ 66675 h 1349375"/>
                <a:gd name="connsiteX68" fmla="*/ 714375 w 3165475"/>
                <a:gd name="connsiteY68" fmla="*/ 34925 h 1349375"/>
                <a:gd name="connsiteX69" fmla="*/ 638175 w 3165475"/>
                <a:gd name="connsiteY69" fmla="*/ 136525 h 1349375"/>
                <a:gd name="connsiteX70" fmla="*/ 577850 w 3165475"/>
                <a:gd name="connsiteY70" fmla="*/ 66675 h 1349375"/>
                <a:gd name="connsiteX71" fmla="*/ 485775 w 3165475"/>
                <a:gd name="connsiteY71" fmla="*/ 57150 h 1349375"/>
                <a:gd name="connsiteX72" fmla="*/ 447675 w 3165475"/>
                <a:gd name="connsiteY72" fmla="*/ 0 h 1349375"/>
                <a:gd name="connsiteX73" fmla="*/ 393700 w 3165475"/>
                <a:gd name="connsiteY73" fmla="*/ 57150 h 1349375"/>
                <a:gd name="connsiteX74" fmla="*/ 349250 w 3165475"/>
                <a:gd name="connsiteY74" fmla="*/ 15875 h 1349375"/>
                <a:gd name="connsiteX75" fmla="*/ 279400 w 3165475"/>
                <a:gd name="connsiteY75" fmla="*/ 19050 h 1349375"/>
                <a:gd name="connsiteX76" fmla="*/ 209550 w 3165475"/>
                <a:gd name="connsiteY76" fmla="*/ 111125 h 1349375"/>
                <a:gd name="connsiteX77" fmla="*/ 142875 w 3165475"/>
                <a:gd name="connsiteY77" fmla="*/ 139700 h 1349375"/>
                <a:gd name="connsiteX78" fmla="*/ 215900 w 3165475"/>
                <a:gd name="connsiteY78" fmla="*/ 190500 h 1349375"/>
                <a:gd name="connsiteX79" fmla="*/ 79375 w 3165475"/>
                <a:gd name="connsiteY79" fmla="*/ 288925 h 1349375"/>
                <a:gd name="connsiteX80" fmla="*/ 95250 w 3165475"/>
                <a:gd name="connsiteY80" fmla="*/ 387350 h 1349375"/>
                <a:gd name="connsiteX81" fmla="*/ 0 w 3165475"/>
                <a:gd name="connsiteY81" fmla="*/ 431800 h 1349375"/>
                <a:gd name="connsiteX82" fmla="*/ 12700 w 3165475"/>
                <a:gd name="connsiteY82" fmla="*/ 628650 h 1349375"/>
                <a:gd name="connsiteX83" fmla="*/ 98425 w 3165475"/>
                <a:gd name="connsiteY83" fmla="*/ 628650 h 1349375"/>
                <a:gd name="connsiteX84" fmla="*/ 98425 w 3165475"/>
                <a:gd name="connsiteY84" fmla="*/ 676275 h 1349375"/>
                <a:gd name="connsiteX85" fmla="*/ 152400 w 3165475"/>
                <a:gd name="connsiteY85" fmla="*/ 733425 h 1349375"/>
                <a:gd name="connsiteX86" fmla="*/ 158750 w 3165475"/>
                <a:gd name="connsiteY86" fmla="*/ 835025 h 1349375"/>
                <a:gd name="connsiteX87" fmla="*/ 247650 w 3165475"/>
                <a:gd name="connsiteY87" fmla="*/ 889000 h 1349375"/>
                <a:gd name="connsiteX88" fmla="*/ 190500 w 3165475"/>
                <a:gd name="connsiteY88" fmla="*/ 968375 h 1349375"/>
                <a:gd name="connsiteX89" fmla="*/ 190500 w 3165475"/>
                <a:gd name="connsiteY89" fmla="*/ 1139825 h 1349375"/>
                <a:gd name="connsiteX90" fmla="*/ 282575 w 3165475"/>
                <a:gd name="connsiteY90" fmla="*/ 1184275 h 1349375"/>
                <a:gd name="connsiteX91" fmla="*/ 339725 w 3165475"/>
                <a:gd name="connsiteY91" fmla="*/ 1130300 h 1349375"/>
                <a:gd name="connsiteX92" fmla="*/ 460375 w 3165475"/>
                <a:gd name="connsiteY92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479425 w 3165475"/>
                <a:gd name="connsiteY2" fmla="*/ 1114425 h 1349375"/>
                <a:gd name="connsiteX3" fmla="*/ 498475 w 3165475"/>
                <a:gd name="connsiteY3" fmla="*/ 1095375 h 1349375"/>
                <a:gd name="connsiteX4" fmla="*/ 508000 w 3165475"/>
                <a:gd name="connsiteY4" fmla="*/ 1085850 h 1349375"/>
                <a:gd name="connsiteX5" fmla="*/ 527050 w 3165475"/>
                <a:gd name="connsiteY5" fmla="*/ 1060450 h 1349375"/>
                <a:gd name="connsiteX6" fmla="*/ 520700 w 3165475"/>
                <a:gd name="connsiteY6" fmla="*/ 987425 h 1349375"/>
                <a:gd name="connsiteX7" fmla="*/ 720725 w 3165475"/>
                <a:gd name="connsiteY7" fmla="*/ 955675 h 1349375"/>
                <a:gd name="connsiteX8" fmla="*/ 895350 w 3165475"/>
                <a:gd name="connsiteY8" fmla="*/ 901700 h 1349375"/>
                <a:gd name="connsiteX9" fmla="*/ 1111250 w 3165475"/>
                <a:gd name="connsiteY9" fmla="*/ 952500 h 1349375"/>
                <a:gd name="connsiteX10" fmla="*/ 1174750 w 3165475"/>
                <a:gd name="connsiteY10" fmla="*/ 1019175 h 1349375"/>
                <a:gd name="connsiteX11" fmla="*/ 1298575 w 3165475"/>
                <a:gd name="connsiteY11" fmla="*/ 996950 h 1349375"/>
                <a:gd name="connsiteX12" fmla="*/ 1419225 w 3165475"/>
                <a:gd name="connsiteY12" fmla="*/ 1054100 h 1349375"/>
                <a:gd name="connsiteX13" fmla="*/ 1514475 w 3165475"/>
                <a:gd name="connsiteY13" fmla="*/ 987425 h 1349375"/>
                <a:gd name="connsiteX14" fmla="*/ 1622425 w 3165475"/>
                <a:gd name="connsiteY14" fmla="*/ 996950 h 1349375"/>
                <a:gd name="connsiteX15" fmla="*/ 1698625 w 3165475"/>
                <a:gd name="connsiteY15" fmla="*/ 908050 h 1349375"/>
                <a:gd name="connsiteX16" fmla="*/ 1882775 w 3165475"/>
                <a:gd name="connsiteY16" fmla="*/ 876300 h 1349375"/>
                <a:gd name="connsiteX17" fmla="*/ 1971675 w 3165475"/>
                <a:gd name="connsiteY17" fmla="*/ 942975 h 1349375"/>
                <a:gd name="connsiteX18" fmla="*/ 2032000 w 3165475"/>
                <a:gd name="connsiteY18" fmla="*/ 1022350 h 1349375"/>
                <a:gd name="connsiteX19" fmla="*/ 2124075 w 3165475"/>
                <a:gd name="connsiteY19" fmla="*/ 1006475 h 1349375"/>
                <a:gd name="connsiteX20" fmla="*/ 2203450 w 3165475"/>
                <a:gd name="connsiteY20" fmla="*/ 1222375 h 1349375"/>
                <a:gd name="connsiteX21" fmla="*/ 2301875 w 3165475"/>
                <a:gd name="connsiteY21" fmla="*/ 1339850 h 1349375"/>
                <a:gd name="connsiteX22" fmla="*/ 2441575 w 3165475"/>
                <a:gd name="connsiteY22" fmla="*/ 1349375 h 1349375"/>
                <a:gd name="connsiteX23" fmla="*/ 2622550 w 3165475"/>
                <a:gd name="connsiteY23" fmla="*/ 1241425 h 1349375"/>
                <a:gd name="connsiteX24" fmla="*/ 2705100 w 3165475"/>
                <a:gd name="connsiteY24" fmla="*/ 1260475 h 1349375"/>
                <a:gd name="connsiteX25" fmla="*/ 2867025 w 3165475"/>
                <a:gd name="connsiteY25" fmla="*/ 1244600 h 1349375"/>
                <a:gd name="connsiteX26" fmla="*/ 2898775 w 3165475"/>
                <a:gd name="connsiteY26" fmla="*/ 1143000 h 1349375"/>
                <a:gd name="connsiteX27" fmla="*/ 2876550 w 3165475"/>
                <a:gd name="connsiteY27" fmla="*/ 1016000 h 1349375"/>
                <a:gd name="connsiteX28" fmla="*/ 2921000 w 3165475"/>
                <a:gd name="connsiteY28" fmla="*/ 936625 h 1349375"/>
                <a:gd name="connsiteX29" fmla="*/ 2889250 w 3165475"/>
                <a:gd name="connsiteY29" fmla="*/ 771525 h 1349375"/>
                <a:gd name="connsiteX30" fmla="*/ 2974975 w 3165475"/>
                <a:gd name="connsiteY30" fmla="*/ 704850 h 1349375"/>
                <a:gd name="connsiteX31" fmla="*/ 3016250 w 3165475"/>
                <a:gd name="connsiteY31" fmla="*/ 593725 h 1349375"/>
                <a:gd name="connsiteX32" fmla="*/ 3127375 w 3165475"/>
                <a:gd name="connsiteY32" fmla="*/ 549275 h 1349375"/>
                <a:gd name="connsiteX33" fmla="*/ 3117850 w 3165475"/>
                <a:gd name="connsiteY33" fmla="*/ 371475 h 1349375"/>
                <a:gd name="connsiteX34" fmla="*/ 3165475 w 3165475"/>
                <a:gd name="connsiteY34" fmla="*/ 304800 h 1349375"/>
                <a:gd name="connsiteX35" fmla="*/ 3162300 w 3165475"/>
                <a:gd name="connsiteY35" fmla="*/ 142875 h 1349375"/>
                <a:gd name="connsiteX36" fmla="*/ 2924175 w 3165475"/>
                <a:gd name="connsiteY36" fmla="*/ 168275 h 1349375"/>
                <a:gd name="connsiteX37" fmla="*/ 2857500 w 3165475"/>
                <a:gd name="connsiteY37" fmla="*/ 34925 h 1349375"/>
                <a:gd name="connsiteX38" fmla="*/ 2740025 w 3165475"/>
                <a:gd name="connsiteY38" fmla="*/ 168275 h 1349375"/>
                <a:gd name="connsiteX39" fmla="*/ 2746375 w 3165475"/>
                <a:gd name="connsiteY39" fmla="*/ 234950 h 1349375"/>
                <a:gd name="connsiteX40" fmla="*/ 2546350 w 3165475"/>
                <a:gd name="connsiteY40" fmla="*/ 234950 h 1349375"/>
                <a:gd name="connsiteX41" fmla="*/ 2371725 w 3165475"/>
                <a:gd name="connsiteY41" fmla="*/ 155575 h 1349375"/>
                <a:gd name="connsiteX42" fmla="*/ 2254250 w 3165475"/>
                <a:gd name="connsiteY42" fmla="*/ 130175 h 1349375"/>
                <a:gd name="connsiteX43" fmla="*/ 2276475 w 3165475"/>
                <a:gd name="connsiteY43" fmla="*/ 203200 h 1349375"/>
                <a:gd name="connsiteX44" fmla="*/ 2241550 w 3165475"/>
                <a:gd name="connsiteY44" fmla="*/ 276225 h 1349375"/>
                <a:gd name="connsiteX45" fmla="*/ 2308225 w 3165475"/>
                <a:gd name="connsiteY45" fmla="*/ 384175 h 1349375"/>
                <a:gd name="connsiteX46" fmla="*/ 2111375 w 3165475"/>
                <a:gd name="connsiteY46" fmla="*/ 450850 h 1349375"/>
                <a:gd name="connsiteX47" fmla="*/ 2047875 w 3165475"/>
                <a:gd name="connsiteY47" fmla="*/ 406400 h 1349375"/>
                <a:gd name="connsiteX48" fmla="*/ 1908175 w 3165475"/>
                <a:gd name="connsiteY48" fmla="*/ 374650 h 1349375"/>
                <a:gd name="connsiteX49" fmla="*/ 1892300 w 3165475"/>
                <a:gd name="connsiteY49" fmla="*/ 288925 h 1349375"/>
                <a:gd name="connsiteX50" fmla="*/ 1819275 w 3165475"/>
                <a:gd name="connsiteY50" fmla="*/ 206375 h 1349375"/>
                <a:gd name="connsiteX51" fmla="*/ 1730375 w 3165475"/>
                <a:gd name="connsiteY51" fmla="*/ 193675 h 1349375"/>
                <a:gd name="connsiteX52" fmla="*/ 1676400 w 3165475"/>
                <a:gd name="connsiteY52" fmla="*/ 219075 h 1349375"/>
                <a:gd name="connsiteX53" fmla="*/ 1704975 w 3165475"/>
                <a:gd name="connsiteY53" fmla="*/ 304800 h 1349375"/>
                <a:gd name="connsiteX54" fmla="*/ 1606550 w 3165475"/>
                <a:gd name="connsiteY54" fmla="*/ 295275 h 1349375"/>
                <a:gd name="connsiteX55" fmla="*/ 1587500 w 3165475"/>
                <a:gd name="connsiteY55" fmla="*/ 346075 h 1349375"/>
                <a:gd name="connsiteX56" fmla="*/ 1485900 w 3165475"/>
                <a:gd name="connsiteY56" fmla="*/ 311150 h 1349375"/>
                <a:gd name="connsiteX57" fmla="*/ 1501775 w 3165475"/>
                <a:gd name="connsiteY57" fmla="*/ 241300 h 1349375"/>
                <a:gd name="connsiteX58" fmla="*/ 1447800 w 3165475"/>
                <a:gd name="connsiteY58" fmla="*/ 219075 h 1349375"/>
                <a:gd name="connsiteX59" fmla="*/ 1409700 w 3165475"/>
                <a:gd name="connsiteY59" fmla="*/ 238125 h 1349375"/>
                <a:gd name="connsiteX60" fmla="*/ 1371600 w 3165475"/>
                <a:gd name="connsiteY60" fmla="*/ 196850 h 1349375"/>
                <a:gd name="connsiteX61" fmla="*/ 1314450 w 3165475"/>
                <a:gd name="connsiteY61" fmla="*/ 215900 h 1349375"/>
                <a:gd name="connsiteX62" fmla="*/ 1244600 w 3165475"/>
                <a:gd name="connsiteY62" fmla="*/ 180975 h 1349375"/>
                <a:gd name="connsiteX63" fmla="*/ 1184275 w 3165475"/>
                <a:gd name="connsiteY63" fmla="*/ 203200 h 1349375"/>
                <a:gd name="connsiteX64" fmla="*/ 1133475 w 3165475"/>
                <a:gd name="connsiteY64" fmla="*/ 79375 h 1349375"/>
                <a:gd name="connsiteX65" fmla="*/ 981075 w 3165475"/>
                <a:gd name="connsiteY65" fmla="*/ 76200 h 1349375"/>
                <a:gd name="connsiteX66" fmla="*/ 825500 w 3165475"/>
                <a:gd name="connsiteY66" fmla="*/ 0 h 1349375"/>
                <a:gd name="connsiteX67" fmla="*/ 819150 w 3165475"/>
                <a:gd name="connsiteY67" fmla="*/ 66675 h 1349375"/>
                <a:gd name="connsiteX68" fmla="*/ 714375 w 3165475"/>
                <a:gd name="connsiteY68" fmla="*/ 34925 h 1349375"/>
                <a:gd name="connsiteX69" fmla="*/ 638175 w 3165475"/>
                <a:gd name="connsiteY69" fmla="*/ 136525 h 1349375"/>
                <a:gd name="connsiteX70" fmla="*/ 577850 w 3165475"/>
                <a:gd name="connsiteY70" fmla="*/ 66675 h 1349375"/>
                <a:gd name="connsiteX71" fmla="*/ 485775 w 3165475"/>
                <a:gd name="connsiteY71" fmla="*/ 57150 h 1349375"/>
                <a:gd name="connsiteX72" fmla="*/ 447675 w 3165475"/>
                <a:gd name="connsiteY72" fmla="*/ 0 h 1349375"/>
                <a:gd name="connsiteX73" fmla="*/ 393700 w 3165475"/>
                <a:gd name="connsiteY73" fmla="*/ 57150 h 1349375"/>
                <a:gd name="connsiteX74" fmla="*/ 349250 w 3165475"/>
                <a:gd name="connsiteY74" fmla="*/ 15875 h 1349375"/>
                <a:gd name="connsiteX75" fmla="*/ 279400 w 3165475"/>
                <a:gd name="connsiteY75" fmla="*/ 19050 h 1349375"/>
                <a:gd name="connsiteX76" fmla="*/ 209550 w 3165475"/>
                <a:gd name="connsiteY76" fmla="*/ 111125 h 1349375"/>
                <a:gd name="connsiteX77" fmla="*/ 142875 w 3165475"/>
                <a:gd name="connsiteY77" fmla="*/ 139700 h 1349375"/>
                <a:gd name="connsiteX78" fmla="*/ 215900 w 3165475"/>
                <a:gd name="connsiteY78" fmla="*/ 190500 h 1349375"/>
                <a:gd name="connsiteX79" fmla="*/ 79375 w 3165475"/>
                <a:gd name="connsiteY79" fmla="*/ 288925 h 1349375"/>
                <a:gd name="connsiteX80" fmla="*/ 95250 w 3165475"/>
                <a:gd name="connsiteY80" fmla="*/ 387350 h 1349375"/>
                <a:gd name="connsiteX81" fmla="*/ 0 w 3165475"/>
                <a:gd name="connsiteY81" fmla="*/ 431800 h 1349375"/>
                <a:gd name="connsiteX82" fmla="*/ 12700 w 3165475"/>
                <a:gd name="connsiteY82" fmla="*/ 628650 h 1349375"/>
                <a:gd name="connsiteX83" fmla="*/ 98425 w 3165475"/>
                <a:gd name="connsiteY83" fmla="*/ 628650 h 1349375"/>
                <a:gd name="connsiteX84" fmla="*/ 98425 w 3165475"/>
                <a:gd name="connsiteY84" fmla="*/ 676275 h 1349375"/>
                <a:gd name="connsiteX85" fmla="*/ 152400 w 3165475"/>
                <a:gd name="connsiteY85" fmla="*/ 733425 h 1349375"/>
                <a:gd name="connsiteX86" fmla="*/ 158750 w 3165475"/>
                <a:gd name="connsiteY86" fmla="*/ 835025 h 1349375"/>
                <a:gd name="connsiteX87" fmla="*/ 247650 w 3165475"/>
                <a:gd name="connsiteY87" fmla="*/ 889000 h 1349375"/>
                <a:gd name="connsiteX88" fmla="*/ 190500 w 3165475"/>
                <a:gd name="connsiteY88" fmla="*/ 968375 h 1349375"/>
                <a:gd name="connsiteX89" fmla="*/ 190500 w 3165475"/>
                <a:gd name="connsiteY89" fmla="*/ 1139825 h 1349375"/>
                <a:gd name="connsiteX90" fmla="*/ 282575 w 3165475"/>
                <a:gd name="connsiteY90" fmla="*/ 1184275 h 1349375"/>
                <a:gd name="connsiteX91" fmla="*/ 339725 w 3165475"/>
                <a:gd name="connsiteY91" fmla="*/ 1130300 h 1349375"/>
                <a:gd name="connsiteX92" fmla="*/ 460375 w 3165475"/>
                <a:gd name="connsiteY92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479425 w 3165475"/>
                <a:gd name="connsiteY2" fmla="*/ 1114425 h 1349375"/>
                <a:gd name="connsiteX3" fmla="*/ 498475 w 3165475"/>
                <a:gd name="connsiteY3" fmla="*/ 1095375 h 1349375"/>
                <a:gd name="connsiteX4" fmla="*/ 508000 w 3165475"/>
                <a:gd name="connsiteY4" fmla="*/ 1085850 h 1349375"/>
                <a:gd name="connsiteX5" fmla="*/ 527050 w 3165475"/>
                <a:gd name="connsiteY5" fmla="*/ 1060450 h 1349375"/>
                <a:gd name="connsiteX6" fmla="*/ 534987 w 3165475"/>
                <a:gd name="connsiteY6" fmla="*/ 1001712 h 1349375"/>
                <a:gd name="connsiteX7" fmla="*/ 720725 w 3165475"/>
                <a:gd name="connsiteY7" fmla="*/ 955675 h 1349375"/>
                <a:gd name="connsiteX8" fmla="*/ 895350 w 3165475"/>
                <a:gd name="connsiteY8" fmla="*/ 901700 h 1349375"/>
                <a:gd name="connsiteX9" fmla="*/ 1111250 w 3165475"/>
                <a:gd name="connsiteY9" fmla="*/ 952500 h 1349375"/>
                <a:gd name="connsiteX10" fmla="*/ 1174750 w 3165475"/>
                <a:gd name="connsiteY10" fmla="*/ 1019175 h 1349375"/>
                <a:gd name="connsiteX11" fmla="*/ 1298575 w 3165475"/>
                <a:gd name="connsiteY11" fmla="*/ 996950 h 1349375"/>
                <a:gd name="connsiteX12" fmla="*/ 1419225 w 3165475"/>
                <a:gd name="connsiteY12" fmla="*/ 1054100 h 1349375"/>
                <a:gd name="connsiteX13" fmla="*/ 1514475 w 3165475"/>
                <a:gd name="connsiteY13" fmla="*/ 987425 h 1349375"/>
                <a:gd name="connsiteX14" fmla="*/ 1622425 w 3165475"/>
                <a:gd name="connsiteY14" fmla="*/ 996950 h 1349375"/>
                <a:gd name="connsiteX15" fmla="*/ 1698625 w 3165475"/>
                <a:gd name="connsiteY15" fmla="*/ 908050 h 1349375"/>
                <a:gd name="connsiteX16" fmla="*/ 1882775 w 3165475"/>
                <a:gd name="connsiteY16" fmla="*/ 876300 h 1349375"/>
                <a:gd name="connsiteX17" fmla="*/ 1971675 w 3165475"/>
                <a:gd name="connsiteY17" fmla="*/ 942975 h 1349375"/>
                <a:gd name="connsiteX18" fmla="*/ 2032000 w 3165475"/>
                <a:gd name="connsiteY18" fmla="*/ 1022350 h 1349375"/>
                <a:gd name="connsiteX19" fmla="*/ 2124075 w 3165475"/>
                <a:gd name="connsiteY19" fmla="*/ 1006475 h 1349375"/>
                <a:gd name="connsiteX20" fmla="*/ 2203450 w 3165475"/>
                <a:gd name="connsiteY20" fmla="*/ 1222375 h 1349375"/>
                <a:gd name="connsiteX21" fmla="*/ 2301875 w 3165475"/>
                <a:gd name="connsiteY21" fmla="*/ 1339850 h 1349375"/>
                <a:gd name="connsiteX22" fmla="*/ 2441575 w 3165475"/>
                <a:gd name="connsiteY22" fmla="*/ 1349375 h 1349375"/>
                <a:gd name="connsiteX23" fmla="*/ 2622550 w 3165475"/>
                <a:gd name="connsiteY23" fmla="*/ 1241425 h 1349375"/>
                <a:gd name="connsiteX24" fmla="*/ 2705100 w 3165475"/>
                <a:gd name="connsiteY24" fmla="*/ 1260475 h 1349375"/>
                <a:gd name="connsiteX25" fmla="*/ 2867025 w 3165475"/>
                <a:gd name="connsiteY25" fmla="*/ 1244600 h 1349375"/>
                <a:gd name="connsiteX26" fmla="*/ 2898775 w 3165475"/>
                <a:gd name="connsiteY26" fmla="*/ 1143000 h 1349375"/>
                <a:gd name="connsiteX27" fmla="*/ 2876550 w 3165475"/>
                <a:gd name="connsiteY27" fmla="*/ 1016000 h 1349375"/>
                <a:gd name="connsiteX28" fmla="*/ 2921000 w 3165475"/>
                <a:gd name="connsiteY28" fmla="*/ 936625 h 1349375"/>
                <a:gd name="connsiteX29" fmla="*/ 2889250 w 3165475"/>
                <a:gd name="connsiteY29" fmla="*/ 771525 h 1349375"/>
                <a:gd name="connsiteX30" fmla="*/ 2974975 w 3165475"/>
                <a:gd name="connsiteY30" fmla="*/ 704850 h 1349375"/>
                <a:gd name="connsiteX31" fmla="*/ 3016250 w 3165475"/>
                <a:gd name="connsiteY31" fmla="*/ 593725 h 1349375"/>
                <a:gd name="connsiteX32" fmla="*/ 3127375 w 3165475"/>
                <a:gd name="connsiteY32" fmla="*/ 549275 h 1349375"/>
                <a:gd name="connsiteX33" fmla="*/ 3117850 w 3165475"/>
                <a:gd name="connsiteY33" fmla="*/ 371475 h 1349375"/>
                <a:gd name="connsiteX34" fmla="*/ 3165475 w 3165475"/>
                <a:gd name="connsiteY34" fmla="*/ 304800 h 1349375"/>
                <a:gd name="connsiteX35" fmla="*/ 3162300 w 3165475"/>
                <a:gd name="connsiteY35" fmla="*/ 142875 h 1349375"/>
                <a:gd name="connsiteX36" fmla="*/ 2924175 w 3165475"/>
                <a:gd name="connsiteY36" fmla="*/ 168275 h 1349375"/>
                <a:gd name="connsiteX37" fmla="*/ 2857500 w 3165475"/>
                <a:gd name="connsiteY37" fmla="*/ 34925 h 1349375"/>
                <a:gd name="connsiteX38" fmla="*/ 2740025 w 3165475"/>
                <a:gd name="connsiteY38" fmla="*/ 168275 h 1349375"/>
                <a:gd name="connsiteX39" fmla="*/ 2746375 w 3165475"/>
                <a:gd name="connsiteY39" fmla="*/ 234950 h 1349375"/>
                <a:gd name="connsiteX40" fmla="*/ 2546350 w 3165475"/>
                <a:gd name="connsiteY40" fmla="*/ 234950 h 1349375"/>
                <a:gd name="connsiteX41" fmla="*/ 2371725 w 3165475"/>
                <a:gd name="connsiteY41" fmla="*/ 155575 h 1349375"/>
                <a:gd name="connsiteX42" fmla="*/ 2254250 w 3165475"/>
                <a:gd name="connsiteY42" fmla="*/ 130175 h 1349375"/>
                <a:gd name="connsiteX43" fmla="*/ 2276475 w 3165475"/>
                <a:gd name="connsiteY43" fmla="*/ 203200 h 1349375"/>
                <a:gd name="connsiteX44" fmla="*/ 2241550 w 3165475"/>
                <a:gd name="connsiteY44" fmla="*/ 276225 h 1349375"/>
                <a:gd name="connsiteX45" fmla="*/ 2308225 w 3165475"/>
                <a:gd name="connsiteY45" fmla="*/ 384175 h 1349375"/>
                <a:gd name="connsiteX46" fmla="*/ 2111375 w 3165475"/>
                <a:gd name="connsiteY46" fmla="*/ 450850 h 1349375"/>
                <a:gd name="connsiteX47" fmla="*/ 2047875 w 3165475"/>
                <a:gd name="connsiteY47" fmla="*/ 406400 h 1349375"/>
                <a:gd name="connsiteX48" fmla="*/ 1908175 w 3165475"/>
                <a:gd name="connsiteY48" fmla="*/ 374650 h 1349375"/>
                <a:gd name="connsiteX49" fmla="*/ 1892300 w 3165475"/>
                <a:gd name="connsiteY49" fmla="*/ 288925 h 1349375"/>
                <a:gd name="connsiteX50" fmla="*/ 1819275 w 3165475"/>
                <a:gd name="connsiteY50" fmla="*/ 206375 h 1349375"/>
                <a:gd name="connsiteX51" fmla="*/ 1730375 w 3165475"/>
                <a:gd name="connsiteY51" fmla="*/ 193675 h 1349375"/>
                <a:gd name="connsiteX52" fmla="*/ 1676400 w 3165475"/>
                <a:gd name="connsiteY52" fmla="*/ 219075 h 1349375"/>
                <a:gd name="connsiteX53" fmla="*/ 1704975 w 3165475"/>
                <a:gd name="connsiteY53" fmla="*/ 304800 h 1349375"/>
                <a:gd name="connsiteX54" fmla="*/ 1606550 w 3165475"/>
                <a:gd name="connsiteY54" fmla="*/ 295275 h 1349375"/>
                <a:gd name="connsiteX55" fmla="*/ 1587500 w 3165475"/>
                <a:gd name="connsiteY55" fmla="*/ 346075 h 1349375"/>
                <a:gd name="connsiteX56" fmla="*/ 1485900 w 3165475"/>
                <a:gd name="connsiteY56" fmla="*/ 311150 h 1349375"/>
                <a:gd name="connsiteX57" fmla="*/ 1501775 w 3165475"/>
                <a:gd name="connsiteY57" fmla="*/ 241300 h 1349375"/>
                <a:gd name="connsiteX58" fmla="*/ 1447800 w 3165475"/>
                <a:gd name="connsiteY58" fmla="*/ 219075 h 1349375"/>
                <a:gd name="connsiteX59" fmla="*/ 1409700 w 3165475"/>
                <a:gd name="connsiteY59" fmla="*/ 238125 h 1349375"/>
                <a:gd name="connsiteX60" fmla="*/ 1371600 w 3165475"/>
                <a:gd name="connsiteY60" fmla="*/ 196850 h 1349375"/>
                <a:gd name="connsiteX61" fmla="*/ 1314450 w 3165475"/>
                <a:gd name="connsiteY61" fmla="*/ 215900 h 1349375"/>
                <a:gd name="connsiteX62" fmla="*/ 1244600 w 3165475"/>
                <a:gd name="connsiteY62" fmla="*/ 180975 h 1349375"/>
                <a:gd name="connsiteX63" fmla="*/ 1184275 w 3165475"/>
                <a:gd name="connsiteY63" fmla="*/ 203200 h 1349375"/>
                <a:gd name="connsiteX64" fmla="*/ 1133475 w 3165475"/>
                <a:gd name="connsiteY64" fmla="*/ 79375 h 1349375"/>
                <a:gd name="connsiteX65" fmla="*/ 981075 w 3165475"/>
                <a:gd name="connsiteY65" fmla="*/ 76200 h 1349375"/>
                <a:gd name="connsiteX66" fmla="*/ 825500 w 3165475"/>
                <a:gd name="connsiteY66" fmla="*/ 0 h 1349375"/>
                <a:gd name="connsiteX67" fmla="*/ 819150 w 3165475"/>
                <a:gd name="connsiteY67" fmla="*/ 66675 h 1349375"/>
                <a:gd name="connsiteX68" fmla="*/ 714375 w 3165475"/>
                <a:gd name="connsiteY68" fmla="*/ 34925 h 1349375"/>
                <a:gd name="connsiteX69" fmla="*/ 638175 w 3165475"/>
                <a:gd name="connsiteY69" fmla="*/ 136525 h 1349375"/>
                <a:gd name="connsiteX70" fmla="*/ 577850 w 3165475"/>
                <a:gd name="connsiteY70" fmla="*/ 66675 h 1349375"/>
                <a:gd name="connsiteX71" fmla="*/ 485775 w 3165475"/>
                <a:gd name="connsiteY71" fmla="*/ 57150 h 1349375"/>
                <a:gd name="connsiteX72" fmla="*/ 447675 w 3165475"/>
                <a:gd name="connsiteY72" fmla="*/ 0 h 1349375"/>
                <a:gd name="connsiteX73" fmla="*/ 393700 w 3165475"/>
                <a:gd name="connsiteY73" fmla="*/ 57150 h 1349375"/>
                <a:gd name="connsiteX74" fmla="*/ 349250 w 3165475"/>
                <a:gd name="connsiteY74" fmla="*/ 15875 h 1349375"/>
                <a:gd name="connsiteX75" fmla="*/ 279400 w 3165475"/>
                <a:gd name="connsiteY75" fmla="*/ 19050 h 1349375"/>
                <a:gd name="connsiteX76" fmla="*/ 209550 w 3165475"/>
                <a:gd name="connsiteY76" fmla="*/ 111125 h 1349375"/>
                <a:gd name="connsiteX77" fmla="*/ 142875 w 3165475"/>
                <a:gd name="connsiteY77" fmla="*/ 139700 h 1349375"/>
                <a:gd name="connsiteX78" fmla="*/ 215900 w 3165475"/>
                <a:gd name="connsiteY78" fmla="*/ 190500 h 1349375"/>
                <a:gd name="connsiteX79" fmla="*/ 79375 w 3165475"/>
                <a:gd name="connsiteY79" fmla="*/ 288925 h 1349375"/>
                <a:gd name="connsiteX80" fmla="*/ 95250 w 3165475"/>
                <a:gd name="connsiteY80" fmla="*/ 387350 h 1349375"/>
                <a:gd name="connsiteX81" fmla="*/ 0 w 3165475"/>
                <a:gd name="connsiteY81" fmla="*/ 431800 h 1349375"/>
                <a:gd name="connsiteX82" fmla="*/ 12700 w 3165475"/>
                <a:gd name="connsiteY82" fmla="*/ 628650 h 1349375"/>
                <a:gd name="connsiteX83" fmla="*/ 98425 w 3165475"/>
                <a:gd name="connsiteY83" fmla="*/ 628650 h 1349375"/>
                <a:gd name="connsiteX84" fmla="*/ 98425 w 3165475"/>
                <a:gd name="connsiteY84" fmla="*/ 676275 h 1349375"/>
                <a:gd name="connsiteX85" fmla="*/ 152400 w 3165475"/>
                <a:gd name="connsiteY85" fmla="*/ 733425 h 1349375"/>
                <a:gd name="connsiteX86" fmla="*/ 158750 w 3165475"/>
                <a:gd name="connsiteY86" fmla="*/ 835025 h 1349375"/>
                <a:gd name="connsiteX87" fmla="*/ 247650 w 3165475"/>
                <a:gd name="connsiteY87" fmla="*/ 889000 h 1349375"/>
                <a:gd name="connsiteX88" fmla="*/ 190500 w 3165475"/>
                <a:gd name="connsiteY88" fmla="*/ 968375 h 1349375"/>
                <a:gd name="connsiteX89" fmla="*/ 190500 w 3165475"/>
                <a:gd name="connsiteY89" fmla="*/ 1139825 h 1349375"/>
                <a:gd name="connsiteX90" fmla="*/ 282575 w 3165475"/>
                <a:gd name="connsiteY90" fmla="*/ 1184275 h 1349375"/>
                <a:gd name="connsiteX91" fmla="*/ 339725 w 3165475"/>
                <a:gd name="connsiteY91" fmla="*/ 1130300 h 1349375"/>
                <a:gd name="connsiteX92" fmla="*/ 460375 w 3165475"/>
                <a:gd name="connsiteY92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479425 w 3165475"/>
                <a:gd name="connsiteY2" fmla="*/ 1114425 h 1349375"/>
                <a:gd name="connsiteX3" fmla="*/ 508000 w 3165475"/>
                <a:gd name="connsiteY3" fmla="*/ 1085850 h 1349375"/>
                <a:gd name="connsiteX4" fmla="*/ 527050 w 3165475"/>
                <a:gd name="connsiteY4" fmla="*/ 1060450 h 1349375"/>
                <a:gd name="connsiteX5" fmla="*/ 534987 w 3165475"/>
                <a:gd name="connsiteY5" fmla="*/ 1001712 h 1349375"/>
                <a:gd name="connsiteX6" fmla="*/ 720725 w 3165475"/>
                <a:gd name="connsiteY6" fmla="*/ 955675 h 1349375"/>
                <a:gd name="connsiteX7" fmla="*/ 895350 w 3165475"/>
                <a:gd name="connsiteY7" fmla="*/ 901700 h 1349375"/>
                <a:gd name="connsiteX8" fmla="*/ 1111250 w 3165475"/>
                <a:gd name="connsiteY8" fmla="*/ 952500 h 1349375"/>
                <a:gd name="connsiteX9" fmla="*/ 1174750 w 3165475"/>
                <a:gd name="connsiteY9" fmla="*/ 1019175 h 1349375"/>
                <a:gd name="connsiteX10" fmla="*/ 1298575 w 3165475"/>
                <a:gd name="connsiteY10" fmla="*/ 996950 h 1349375"/>
                <a:gd name="connsiteX11" fmla="*/ 1419225 w 3165475"/>
                <a:gd name="connsiteY11" fmla="*/ 1054100 h 1349375"/>
                <a:gd name="connsiteX12" fmla="*/ 1514475 w 3165475"/>
                <a:gd name="connsiteY12" fmla="*/ 987425 h 1349375"/>
                <a:gd name="connsiteX13" fmla="*/ 1622425 w 3165475"/>
                <a:gd name="connsiteY13" fmla="*/ 996950 h 1349375"/>
                <a:gd name="connsiteX14" fmla="*/ 1698625 w 3165475"/>
                <a:gd name="connsiteY14" fmla="*/ 908050 h 1349375"/>
                <a:gd name="connsiteX15" fmla="*/ 1882775 w 3165475"/>
                <a:gd name="connsiteY15" fmla="*/ 876300 h 1349375"/>
                <a:gd name="connsiteX16" fmla="*/ 1971675 w 3165475"/>
                <a:gd name="connsiteY16" fmla="*/ 942975 h 1349375"/>
                <a:gd name="connsiteX17" fmla="*/ 2032000 w 3165475"/>
                <a:gd name="connsiteY17" fmla="*/ 1022350 h 1349375"/>
                <a:gd name="connsiteX18" fmla="*/ 2124075 w 3165475"/>
                <a:gd name="connsiteY18" fmla="*/ 1006475 h 1349375"/>
                <a:gd name="connsiteX19" fmla="*/ 2203450 w 3165475"/>
                <a:gd name="connsiteY19" fmla="*/ 1222375 h 1349375"/>
                <a:gd name="connsiteX20" fmla="*/ 2301875 w 3165475"/>
                <a:gd name="connsiteY20" fmla="*/ 1339850 h 1349375"/>
                <a:gd name="connsiteX21" fmla="*/ 2441575 w 3165475"/>
                <a:gd name="connsiteY21" fmla="*/ 1349375 h 1349375"/>
                <a:gd name="connsiteX22" fmla="*/ 2622550 w 3165475"/>
                <a:gd name="connsiteY22" fmla="*/ 1241425 h 1349375"/>
                <a:gd name="connsiteX23" fmla="*/ 2705100 w 3165475"/>
                <a:gd name="connsiteY23" fmla="*/ 1260475 h 1349375"/>
                <a:gd name="connsiteX24" fmla="*/ 2867025 w 3165475"/>
                <a:gd name="connsiteY24" fmla="*/ 1244600 h 1349375"/>
                <a:gd name="connsiteX25" fmla="*/ 2898775 w 3165475"/>
                <a:gd name="connsiteY25" fmla="*/ 1143000 h 1349375"/>
                <a:gd name="connsiteX26" fmla="*/ 2876550 w 3165475"/>
                <a:gd name="connsiteY26" fmla="*/ 1016000 h 1349375"/>
                <a:gd name="connsiteX27" fmla="*/ 2921000 w 3165475"/>
                <a:gd name="connsiteY27" fmla="*/ 936625 h 1349375"/>
                <a:gd name="connsiteX28" fmla="*/ 2889250 w 3165475"/>
                <a:gd name="connsiteY28" fmla="*/ 771525 h 1349375"/>
                <a:gd name="connsiteX29" fmla="*/ 2974975 w 3165475"/>
                <a:gd name="connsiteY29" fmla="*/ 704850 h 1349375"/>
                <a:gd name="connsiteX30" fmla="*/ 3016250 w 3165475"/>
                <a:gd name="connsiteY30" fmla="*/ 593725 h 1349375"/>
                <a:gd name="connsiteX31" fmla="*/ 3127375 w 3165475"/>
                <a:gd name="connsiteY31" fmla="*/ 549275 h 1349375"/>
                <a:gd name="connsiteX32" fmla="*/ 3117850 w 3165475"/>
                <a:gd name="connsiteY32" fmla="*/ 371475 h 1349375"/>
                <a:gd name="connsiteX33" fmla="*/ 3165475 w 3165475"/>
                <a:gd name="connsiteY33" fmla="*/ 304800 h 1349375"/>
                <a:gd name="connsiteX34" fmla="*/ 3162300 w 3165475"/>
                <a:gd name="connsiteY34" fmla="*/ 142875 h 1349375"/>
                <a:gd name="connsiteX35" fmla="*/ 2924175 w 3165475"/>
                <a:gd name="connsiteY35" fmla="*/ 168275 h 1349375"/>
                <a:gd name="connsiteX36" fmla="*/ 2857500 w 3165475"/>
                <a:gd name="connsiteY36" fmla="*/ 34925 h 1349375"/>
                <a:gd name="connsiteX37" fmla="*/ 2740025 w 3165475"/>
                <a:gd name="connsiteY37" fmla="*/ 168275 h 1349375"/>
                <a:gd name="connsiteX38" fmla="*/ 2746375 w 3165475"/>
                <a:gd name="connsiteY38" fmla="*/ 234950 h 1349375"/>
                <a:gd name="connsiteX39" fmla="*/ 2546350 w 3165475"/>
                <a:gd name="connsiteY39" fmla="*/ 234950 h 1349375"/>
                <a:gd name="connsiteX40" fmla="*/ 2371725 w 3165475"/>
                <a:gd name="connsiteY40" fmla="*/ 155575 h 1349375"/>
                <a:gd name="connsiteX41" fmla="*/ 2254250 w 3165475"/>
                <a:gd name="connsiteY41" fmla="*/ 130175 h 1349375"/>
                <a:gd name="connsiteX42" fmla="*/ 2276475 w 3165475"/>
                <a:gd name="connsiteY42" fmla="*/ 203200 h 1349375"/>
                <a:gd name="connsiteX43" fmla="*/ 2241550 w 3165475"/>
                <a:gd name="connsiteY43" fmla="*/ 276225 h 1349375"/>
                <a:gd name="connsiteX44" fmla="*/ 2308225 w 3165475"/>
                <a:gd name="connsiteY44" fmla="*/ 384175 h 1349375"/>
                <a:gd name="connsiteX45" fmla="*/ 2111375 w 3165475"/>
                <a:gd name="connsiteY45" fmla="*/ 450850 h 1349375"/>
                <a:gd name="connsiteX46" fmla="*/ 2047875 w 3165475"/>
                <a:gd name="connsiteY46" fmla="*/ 406400 h 1349375"/>
                <a:gd name="connsiteX47" fmla="*/ 1908175 w 3165475"/>
                <a:gd name="connsiteY47" fmla="*/ 374650 h 1349375"/>
                <a:gd name="connsiteX48" fmla="*/ 1892300 w 3165475"/>
                <a:gd name="connsiteY48" fmla="*/ 288925 h 1349375"/>
                <a:gd name="connsiteX49" fmla="*/ 1819275 w 3165475"/>
                <a:gd name="connsiteY49" fmla="*/ 206375 h 1349375"/>
                <a:gd name="connsiteX50" fmla="*/ 1730375 w 3165475"/>
                <a:gd name="connsiteY50" fmla="*/ 193675 h 1349375"/>
                <a:gd name="connsiteX51" fmla="*/ 1676400 w 3165475"/>
                <a:gd name="connsiteY51" fmla="*/ 219075 h 1349375"/>
                <a:gd name="connsiteX52" fmla="*/ 1704975 w 3165475"/>
                <a:gd name="connsiteY52" fmla="*/ 304800 h 1349375"/>
                <a:gd name="connsiteX53" fmla="*/ 1606550 w 3165475"/>
                <a:gd name="connsiteY53" fmla="*/ 295275 h 1349375"/>
                <a:gd name="connsiteX54" fmla="*/ 1587500 w 3165475"/>
                <a:gd name="connsiteY54" fmla="*/ 346075 h 1349375"/>
                <a:gd name="connsiteX55" fmla="*/ 1485900 w 3165475"/>
                <a:gd name="connsiteY55" fmla="*/ 311150 h 1349375"/>
                <a:gd name="connsiteX56" fmla="*/ 1501775 w 3165475"/>
                <a:gd name="connsiteY56" fmla="*/ 241300 h 1349375"/>
                <a:gd name="connsiteX57" fmla="*/ 1447800 w 3165475"/>
                <a:gd name="connsiteY57" fmla="*/ 219075 h 1349375"/>
                <a:gd name="connsiteX58" fmla="*/ 1409700 w 3165475"/>
                <a:gd name="connsiteY58" fmla="*/ 238125 h 1349375"/>
                <a:gd name="connsiteX59" fmla="*/ 1371600 w 3165475"/>
                <a:gd name="connsiteY59" fmla="*/ 196850 h 1349375"/>
                <a:gd name="connsiteX60" fmla="*/ 1314450 w 3165475"/>
                <a:gd name="connsiteY60" fmla="*/ 215900 h 1349375"/>
                <a:gd name="connsiteX61" fmla="*/ 1244600 w 3165475"/>
                <a:gd name="connsiteY61" fmla="*/ 180975 h 1349375"/>
                <a:gd name="connsiteX62" fmla="*/ 1184275 w 3165475"/>
                <a:gd name="connsiteY62" fmla="*/ 203200 h 1349375"/>
                <a:gd name="connsiteX63" fmla="*/ 1133475 w 3165475"/>
                <a:gd name="connsiteY63" fmla="*/ 79375 h 1349375"/>
                <a:gd name="connsiteX64" fmla="*/ 981075 w 3165475"/>
                <a:gd name="connsiteY64" fmla="*/ 76200 h 1349375"/>
                <a:gd name="connsiteX65" fmla="*/ 825500 w 3165475"/>
                <a:gd name="connsiteY65" fmla="*/ 0 h 1349375"/>
                <a:gd name="connsiteX66" fmla="*/ 819150 w 3165475"/>
                <a:gd name="connsiteY66" fmla="*/ 66675 h 1349375"/>
                <a:gd name="connsiteX67" fmla="*/ 714375 w 3165475"/>
                <a:gd name="connsiteY67" fmla="*/ 34925 h 1349375"/>
                <a:gd name="connsiteX68" fmla="*/ 638175 w 3165475"/>
                <a:gd name="connsiteY68" fmla="*/ 136525 h 1349375"/>
                <a:gd name="connsiteX69" fmla="*/ 577850 w 3165475"/>
                <a:gd name="connsiteY69" fmla="*/ 66675 h 1349375"/>
                <a:gd name="connsiteX70" fmla="*/ 485775 w 3165475"/>
                <a:gd name="connsiteY70" fmla="*/ 57150 h 1349375"/>
                <a:gd name="connsiteX71" fmla="*/ 447675 w 3165475"/>
                <a:gd name="connsiteY71" fmla="*/ 0 h 1349375"/>
                <a:gd name="connsiteX72" fmla="*/ 393700 w 3165475"/>
                <a:gd name="connsiteY72" fmla="*/ 57150 h 1349375"/>
                <a:gd name="connsiteX73" fmla="*/ 349250 w 3165475"/>
                <a:gd name="connsiteY73" fmla="*/ 15875 h 1349375"/>
                <a:gd name="connsiteX74" fmla="*/ 279400 w 3165475"/>
                <a:gd name="connsiteY74" fmla="*/ 19050 h 1349375"/>
                <a:gd name="connsiteX75" fmla="*/ 209550 w 3165475"/>
                <a:gd name="connsiteY75" fmla="*/ 111125 h 1349375"/>
                <a:gd name="connsiteX76" fmla="*/ 142875 w 3165475"/>
                <a:gd name="connsiteY76" fmla="*/ 139700 h 1349375"/>
                <a:gd name="connsiteX77" fmla="*/ 215900 w 3165475"/>
                <a:gd name="connsiteY77" fmla="*/ 190500 h 1349375"/>
                <a:gd name="connsiteX78" fmla="*/ 79375 w 3165475"/>
                <a:gd name="connsiteY78" fmla="*/ 288925 h 1349375"/>
                <a:gd name="connsiteX79" fmla="*/ 95250 w 3165475"/>
                <a:gd name="connsiteY79" fmla="*/ 387350 h 1349375"/>
                <a:gd name="connsiteX80" fmla="*/ 0 w 3165475"/>
                <a:gd name="connsiteY80" fmla="*/ 431800 h 1349375"/>
                <a:gd name="connsiteX81" fmla="*/ 12700 w 3165475"/>
                <a:gd name="connsiteY81" fmla="*/ 628650 h 1349375"/>
                <a:gd name="connsiteX82" fmla="*/ 98425 w 3165475"/>
                <a:gd name="connsiteY82" fmla="*/ 628650 h 1349375"/>
                <a:gd name="connsiteX83" fmla="*/ 98425 w 3165475"/>
                <a:gd name="connsiteY83" fmla="*/ 676275 h 1349375"/>
                <a:gd name="connsiteX84" fmla="*/ 152400 w 3165475"/>
                <a:gd name="connsiteY84" fmla="*/ 733425 h 1349375"/>
                <a:gd name="connsiteX85" fmla="*/ 158750 w 3165475"/>
                <a:gd name="connsiteY85" fmla="*/ 835025 h 1349375"/>
                <a:gd name="connsiteX86" fmla="*/ 247650 w 3165475"/>
                <a:gd name="connsiteY86" fmla="*/ 889000 h 1349375"/>
                <a:gd name="connsiteX87" fmla="*/ 190500 w 3165475"/>
                <a:gd name="connsiteY87" fmla="*/ 968375 h 1349375"/>
                <a:gd name="connsiteX88" fmla="*/ 190500 w 3165475"/>
                <a:gd name="connsiteY88" fmla="*/ 1139825 h 1349375"/>
                <a:gd name="connsiteX89" fmla="*/ 282575 w 3165475"/>
                <a:gd name="connsiteY89" fmla="*/ 1184275 h 1349375"/>
                <a:gd name="connsiteX90" fmla="*/ 339725 w 3165475"/>
                <a:gd name="connsiteY90" fmla="*/ 1130300 h 1349375"/>
                <a:gd name="connsiteX91" fmla="*/ 460375 w 3165475"/>
                <a:gd name="connsiteY91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5350 w 3165475"/>
                <a:gd name="connsiteY6" fmla="*/ 901700 h 1349375"/>
                <a:gd name="connsiteX7" fmla="*/ 1111250 w 3165475"/>
                <a:gd name="connsiteY7" fmla="*/ 952500 h 1349375"/>
                <a:gd name="connsiteX8" fmla="*/ 1174750 w 3165475"/>
                <a:gd name="connsiteY8" fmla="*/ 1019175 h 1349375"/>
                <a:gd name="connsiteX9" fmla="*/ 1298575 w 3165475"/>
                <a:gd name="connsiteY9" fmla="*/ 996950 h 1349375"/>
                <a:gd name="connsiteX10" fmla="*/ 1419225 w 3165475"/>
                <a:gd name="connsiteY10" fmla="*/ 1054100 h 1349375"/>
                <a:gd name="connsiteX11" fmla="*/ 1514475 w 3165475"/>
                <a:gd name="connsiteY11" fmla="*/ 987425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111250 w 3165475"/>
                <a:gd name="connsiteY7" fmla="*/ 952500 h 1349375"/>
                <a:gd name="connsiteX8" fmla="*/ 1174750 w 3165475"/>
                <a:gd name="connsiteY8" fmla="*/ 1019175 h 1349375"/>
                <a:gd name="connsiteX9" fmla="*/ 1298575 w 3165475"/>
                <a:gd name="connsiteY9" fmla="*/ 996950 h 1349375"/>
                <a:gd name="connsiteX10" fmla="*/ 1419225 w 3165475"/>
                <a:gd name="connsiteY10" fmla="*/ 1054100 h 1349375"/>
                <a:gd name="connsiteX11" fmla="*/ 1514475 w 3165475"/>
                <a:gd name="connsiteY11" fmla="*/ 987425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98575 w 3165475"/>
                <a:gd name="connsiteY9" fmla="*/ 996950 h 1349375"/>
                <a:gd name="connsiteX10" fmla="*/ 1419225 w 3165475"/>
                <a:gd name="connsiteY10" fmla="*/ 1054100 h 1349375"/>
                <a:gd name="connsiteX11" fmla="*/ 1514475 w 3165475"/>
                <a:gd name="connsiteY11" fmla="*/ 987425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19225 w 3165475"/>
                <a:gd name="connsiteY10" fmla="*/ 1054100 h 1349375"/>
                <a:gd name="connsiteX11" fmla="*/ 1514475 w 3165475"/>
                <a:gd name="connsiteY11" fmla="*/ 987425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14475 w 3165475"/>
                <a:gd name="connsiteY11" fmla="*/ 987425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2425 w 3165475"/>
                <a:gd name="connsiteY12" fmla="*/ 996950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596231 w 3165475"/>
                <a:gd name="connsiteY12" fmla="*/ 1013618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698625 w 3165475"/>
                <a:gd name="connsiteY13" fmla="*/ 908050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82775 w 3165475"/>
                <a:gd name="connsiteY14" fmla="*/ 876300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71675 w 3165475"/>
                <a:gd name="connsiteY15" fmla="*/ 942975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52625 w 3165475"/>
                <a:gd name="connsiteY15" fmla="*/ 959644 h 1349375"/>
                <a:gd name="connsiteX16" fmla="*/ 2032000 w 3165475"/>
                <a:gd name="connsiteY16" fmla="*/ 1022350 h 1349375"/>
                <a:gd name="connsiteX17" fmla="*/ 2124075 w 3165475"/>
                <a:gd name="connsiteY17" fmla="*/ 1006475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52625 w 3165475"/>
                <a:gd name="connsiteY15" fmla="*/ 959644 h 1349375"/>
                <a:gd name="connsiteX16" fmla="*/ 2032000 w 3165475"/>
                <a:gd name="connsiteY16" fmla="*/ 1022350 h 1349375"/>
                <a:gd name="connsiteX17" fmla="*/ 2114550 w 3165475"/>
                <a:gd name="connsiteY17" fmla="*/ 1016000 h 1349375"/>
                <a:gd name="connsiteX18" fmla="*/ 220345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52625 w 3165475"/>
                <a:gd name="connsiteY15" fmla="*/ 959644 h 1349375"/>
                <a:gd name="connsiteX16" fmla="*/ 2032000 w 3165475"/>
                <a:gd name="connsiteY16" fmla="*/ 1022350 h 1349375"/>
                <a:gd name="connsiteX17" fmla="*/ 2114550 w 3165475"/>
                <a:gd name="connsiteY17" fmla="*/ 1016000 h 1349375"/>
                <a:gd name="connsiteX18" fmla="*/ 2184400 w 3165475"/>
                <a:gd name="connsiteY18" fmla="*/ 1222375 h 1349375"/>
                <a:gd name="connsiteX19" fmla="*/ 2301875 w 3165475"/>
                <a:gd name="connsiteY19" fmla="*/ 1339850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52625 w 3165475"/>
                <a:gd name="connsiteY15" fmla="*/ 959644 h 1349375"/>
                <a:gd name="connsiteX16" fmla="*/ 2032000 w 3165475"/>
                <a:gd name="connsiteY16" fmla="*/ 1022350 h 1349375"/>
                <a:gd name="connsiteX17" fmla="*/ 2114550 w 3165475"/>
                <a:gd name="connsiteY17" fmla="*/ 1016000 h 1349375"/>
                <a:gd name="connsiteX18" fmla="*/ 2184400 w 3165475"/>
                <a:gd name="connsiteY18" fmla="*/ 1222375 h 1349375"/>
                <a:gd name="connsiteX19" fmla="*/ 2275681 w 3165475"/>
                <a:gd name="connsiteY19" fmla="*/ 1332706 h 1349375"/>
                <a:gd name="connsiteX20" fmla="*/ 2441575 w 3165475"/>
                <a:gd name="connsiteY20" fmla="*/ 1349375 h 1349375"/>
                <a:gd name="connsiteX21" fmla="*/ 2622550 w 3165475"/>
                <a:gd name="connsiteY21" fmla="*/ 1241425 h 1349375"/>
                <a:gd name="connsiteX22" fmla="*/ 2705100 w 3165475"/>
                <a:gd name="connsiteY22" fmla="*/ 1260475 h 1349375"/>
                <a:gd name="connsiteX23" fmla="*/ 2867025 w 3165475"/>
                <a:gd name="connsiteY23" fmla="*/ 1244600 h 1349375"/>
                <a:gd name="connsiteX24" fmla="*/ 2898775 w 3165475"/>
                <a:gd name="connsiteY24" fmla="*/ 1143000 h 1349375"/>
                <a:gd name="connsiteX25" fmla="*/ 2876550 w 3165475"/>
                <a:gd name="connsiteY25" fmla="*/ 1016000 h 1349375"/>
                <a:gd name="connsiteX26" fmla="*/ 2921000 w 3165475"/>
                <a:gd name="connsiteY26" fmla="*/ 936625 h 1349375"/>
                <a:gd name="connsiteX27" fmla="*/ 2889250 w 3165475"/>
                <a:gd name="connsiteY27" fmla="*/ 771525 h 1349375"/>
                <a:gd name="connsiteX28" fmla="*/ 2974975 w 3165475"/>
                <a:gd name="connsiteY28" fmla="*/ 704850 h 1349375"/>
                <a:gd name="connsiteX29" fmla="*/ 3016250 w 3165475"/>
                <a:gd name="connsiteY29" fmla="*/ 593725 h 1349375"/>
                <a:gd name="connsiteX30" fmla="*/ 3127375 w 3165475"/>
                <a:gd name="connsiteY30" fmla="*/ 549275 h 1349375"/>
                <a:gd name="connsiteX31" fmla="*/ 3117850 w 3165475"/>
                <a:gd name="connsiteY31" fmla="*/ 371475 h 1349375"/>
                <a:gd name="connsiteX32" fmla="*/ 3165475 w 3165475"/>
                <a:gd name="connsiteY32" fmla="*/ 304800 h 1349375"/>
                <a:gd name="connsiteX33" fmla="*/ 3162300 w 3165475"/>
                <a:gd name="connsiteY33" fmla="*/ 142875 h 1349375"/>
                <a:gd name="connsiteX34" fmla="*/ 2924175 w 3165475"/>
                <a:gd name="connsiteY34" fmla="*/ 168275 h 1349375"/>
                <a:gd name="connsiteX35" fmla="*/ 2857500 w 3165475"/>
                <a:gd name="connsiteY35" fmla="*/ 34925 h 1349375"/>
                <a:gd name="connsiteX36" fmla="*/ 2740025 w 3165475"/>
                <a:gd name="connsiteY36" fmla="*/ 168275 h 1349375"/>
                <a:gd name="connsiteX37" fmla="*/ 2746375 w 3165475"/>
                <a:gd name="connsiteY37" fmla="*/ 234950 h 1349375"/>
                <a:gd name="connsiteX38" fmla="*/ 2546350 w 3165475"/>
                <a:gd name="connsiteY38" fmla="*/ 234950 h 1349375"/>
                <a:gd name="connsiteX39" fmla="*/ 2371725 w 3165475"/>
                <a:gd name="connsiteY39" fmla="*/ 155575 h 1349375"/>
                <a:gd name="connsiteX40" fmla="*/ 2254250 w 3165475"/>
                <a:gd name="connsiteY40" fmla="*/ 130175 h 1349375"/>
                <a:gd name="connsiteX41" fmla="*/ 2276475 w 3165475"/>
                <a:gd name="connsiteY41" fmla="*/ 203200 h 1349375"/>
                <a:gd name="connsiteX42" fmla="*/ 2241550 w 3165475"/>
                <a:gd name="connsiteY42" fmla="*/ 276225 h 1349375"/>
                <a:gd name="connsiteX43" fmla="*/ 2308225 w 3165475"/>
                <a:gd name="connsiteY43" fmla="*/ 384175 h 1349375"/>
                <a:gd name="connsiteX44" fmla="*/ 2111375 w 3165475"/>
                <a:gd name="connsiteY44" fmla="*/ 450850 h 1349375"/>
                <a:gd name="connsiteX45" fmla="*/ 2047875 w 3165475"/>
                <a:gd name="connsiteY45" fmla="*/ 406400 h 1349375"/>
                <a:gd name="connsiteX46" fmla="*/ 1908175 w 3165475"/>
                <a:gd name="connsiteY46" fmla="*/ 374650 h 1349375"/>
                <a:gd name="connsiteX47" fmla="*/ 1892300 w 3165475"/>
                <a:gd name="connsiteY47" fmla="*/ 288925 h 1349375"/>
                <a:gd name="connsiteX48" fmla="*/ 1819275 w 3165475"/>
                <a:gd name="connsiteY48" fmla="*/ 206375 h 1349375"/>
                <a:gd name="connsiteX49" fmla="*/ 1730375 w 3165475"/>
                <a:gd name="connsiteY49" fmla="*/ 193675 h 1349375"/>
                <a:gd name="connsiteX50" fmla="*/ 1676400 w 3165475"/>
                <a:gd name="connsiteY50" fmla="*/ 219075 h 1349375"/>
                <a:gd name="connsiteX51" fmla="*/ 1704975 w 3165475"/>
                <a:gd name="connsiteY51" fmla="*/ 304800 h 1349375"/>
                <a:gd name="connsiteX52" fmla="*/ 1606550 w 3165475"/>
                <a:gd name="connsiteY52" fmla="*/ 295275 h 1349375"/>
                <a:gd name="connsiteX53" fmla="*/ 1587500 w 3165475"/>
                <a:gd name="connsiteY53" fmla="*/ 346075 h 1349375"/>
                <a:gd name="connsiteX54" fmla="*/ 1485900 w 3165475"/>
                <a:gd name="connsiteY54" fmla="*/ 311150 h 1349375"/>
                <a:gd name="connsiteX55" fmla="*/ 1501775 w 3165475"/>
                <a:gd name="connsiteY55" fmla="*/ 241300 h 1349375"/>
                <a:gd name="connsiteX56" fmla="*/ 1447800 w 3165475"/>
                <a:gd name="connsiteY56" fmla="*/ 219075 h 1349375"/>
                <a:gd name="connsiteX57" fmla="*/ 1409700 w 3165475"/>
                <a:gd name="connsiteY57" fmla="*/ 238125 h 1349375"/>
                <a:gd name="connsiteX58" fmla="*/ 1371600 w 3165475"/>
                <a:gd name="connsiteY58" fmla="*/ 196850 h 1349375"/>
                <a:gd name="connsiteX59" fmla="*/ 1314450 w 3165475"/>
                <a:gd name="connsiteY59" fmla="*/ 215900 h 1349375"/>
                <a:gd name="connsiteX60" fmla="*/ 1244600 w 3165475"/>
                <a:gd name="connsiteY60" fmla="*/ 180975 h 1349375"/>
                <a:gd name="connsiteX61" fmla="*/ 1184275 w 3165475"/>
                <a:gd name="connsiteY61" fmla="*/ 203200 h 1349375"/>
                <a:gd name="connsiteX62" fmla="*/ 1133475 w 3165475"/>
                <a:gd name="connsiteY62" fmla="*/ 79375 h 1349375"/>
                <a:gd name="connsiteX63" fmla="*/ 981075 w 3165475"/>
                <a:gd name="connsiteY63" fmla="*/ 76200 h 1349375"/>
                <a:gd name="connsiteX64" fmla="*/ 825500 w 3165475"/>
                <a:gd name="connsiteY64" fmla="*/ 0 h 1349375"/>
                <a:gd name="connsiteX65" fmla="*/ 819150 w 3165475"/>
                <a:gd name="connsiteY65" fmla="*/ 66675 h 1349375"/>
                <a:gd name="connsiteX66" fmla="*/ 714375 w 3165475"/>
                <a:gd name="connsiteY66" fmla="*/ 34925 h 1349375"/>
                <a:gd name="connsiteX67" fmla="*/ 638175 w 3165475"/>
                <a:gd name="connsiteY67" fmla="*/ 136525 h 1349375"/>
                <a:gd name="connsiteX68" fmla="*/ 577850 w 3165475"/>
                <a:gd name="connsiteY68" fmla="*/ 66675 h 1349375"/>
                <a:gd name="connsiteX69" fmla="*/ 485775 w 3165475"/>
                <a:gd name="connsiteY69" fmla="*/ 57150 h 1349375"/>
                <a:gd name="connsiteX70" fmla="*/ 447675 w 3165475"/>
                <a:gd name="connsiteY70" fmla="*/ 0 h 1349375"/>
                <a:gd name="connsiteX71" fmla="*/ 393700 w 3165475"/>
                <a:gd name="connsiteY71" fmla="*/ 57150 h 1349375"/>
                <a:gd name="connsiteX72" fmla="*/ 349250 w 3165475"/>
                <a:gd name="connsiteY72" fmla="*/ 15875 h 1349375"/>
                <a:gd name="connsiteX73" fmla="*/ 279400 w 3165475"/>
                <a:gd name="connsiteY73" fmla="*/ 19050 h 1349375"/>
                <a:gd name="connsiteX74" fmla="*/ 209550 w 3165475"/>
                <a:gd name="connsiteY74" fmla="*/ 111125 h 1349375"/>
                <a:gd name="connsiteX75" fmla="*/ 142875 w 3165475"/>
                <a:gd name="connsiteY75" fmla="*/ 139700 h 1349375"/>
                <a:gd name="connsiteX76" fmla="*/ 215900 w 3165475"/>
                <a:gd name="connsiteY76" fmla="*/ 190500 h 1349375"/>
                <a:gd name="connsiteX77" fmla="*/ 79375 w 3165475"/>
                <a:gd name="connsiteY77" fmla="*/ 288925 h 1349375"/>
                <a:gd name="connsiteX78" fmla="*/ 95250 w 3165475"/>
                <a:gd name="connsiteY78" fmla="*/ 387350 h 1349375"/>
                <a:gd name="connsiteX79" fmla="*/ 0 w 3165475"/>
                <a:gd name="connsiteY79" fmla="*/ 431800 h 1349375"/>
                <a:gd name="connsiteX80" fmla="*/ 12700 w 3165475"/>
                <a:gd name="connsiteY80" fmla="*/ 628650 h 1349375"/>
                <a:gd name="connsiteX81" fmla="*/ 98425 w 3165475"/>
                <a:gd name="connsiteY81" fmla="*/ 628650 h 1349375"/>
                <a:gd name="connsiteX82" fmla="*/ 98425 w 3165475"/>
                <a:gd name="connsiteY82" fmla="*/ 676275 h 1349375"/>
                <a:gd name="connsiteX83" fmla="*/ 152400 w 3165475"/>
                <a:gd name="connsiteY83" fmla="*/ 733425 h 1349375"/>
                <a:gd name="connsiteX84" fmla="*/ 158750 w 3165475"/>
                <a:gd name="connsiteY84" fmla="*/ 835025 h 1349375"/>
                <a:gd name="connsiteX85" fmla="*/ 247650 w 3165475"/>
                <a:gd name="connsiteY85" fmla="*/ 889000 h 1349375"/>
                <a:gd name="connsiteX86" fmla="*/ 190500 w 3165475"/>
                <a:gd name="connsiteY86" fmla="*/ 968375 h 1349375"/>
                <a:gd name="connsiteX87" fmla="*/ 190500 w 3165475"/>
                <a:gd name="connsiteY87" fmla="*/ 1139825 h 1349375"/>
                <a:gd name="connsiteX88" fmla="*/ 282575 w 3165475"/>
                <a:gd name="connsiteY88" fmla="*/ 1184275 h 1349375"/>
                <a:gd name="connsiteX89" fmla="*/ 339725 w 3165475"/>
                <a:gd name="connsiteY89" fmla="*/ 1130300 h 1349375"/>
                <a:gd name="connsiteX90" fmla="*/ 460375 w 3165475"/>
                <a:gd name="connsiteY90" fmla="*/ 1136650 h 1349375"/>
                <a:gd name="connsiteX0" fmla="*/ 460375 w 3165475"/>
                <a:gd name="connsiteY0" fmla="*/ 1136650 h 1349375"/>
                <a:gd name="connsiteX1" fmla="*/ 460375 w 3165475"/>
                <a:gd name="connsiteY1" fmla="*/ 1136650 h 1349375"/>
                <a:gd name="connsiteX2" fmla="*/ 508000 w 3165475"/>
                <a:gd name="connsiteY2" fmla="*/ 1085850 h 1349375"/>
                <a:gd name="connsiteX3" fmla="*/ 527050 w 3165475"/>
                <a:gd name="connsiteY3" fmla="*/ 1060450 h 1349375"/>
                <a:gd name="connsiteX4" fmla="*/ 534987 w 3165475"/>
                <a:gd name="connsiteY4" fmla="*/ 1001712 h 1349375"/>
                <a:gd name="connsiteX5" fmla="*/ 720725 w 3165475"/>
                <a:gd name="connsiteY5" fmla="*/ 955675 h 1349375"/>
                <a:gd name="connsiteX6" fmla="*/ 890588 w 3165475"/>
                <a:gd name="connsiteY6" fmla="*/ 920750 h 1349375"/>
                <a:gd name="connsiteX7" fmla="*/ 1092200 w 3165475"/>
                <a:gd name="connsiteY7" fmla="*/ 966788 h 1349375"/>
                <a:gd name="connsiteX8" fmla="*/ 1174750 w 3165475"/>
                <a:gd name="connsiteY8" fmla="*/ 1019175 h 1349375"/>
                <a:gd name="connsiteX9" fmla="*/ 1265238 w 3165475"/>
                <a:gd name="connsiteY9" fmla="*/ 1011237 h 1349375"/>
                <a:gd name="connsiteX10" fmla="*/ 1407319 w 3165475"/>
                <a:gd name="connsiteY10" fmla="*/ 1073150 h 1349375"/>
                <a:gd name="connsiteX11" fmla="*/ 1500187 w 3165475"/>
                <a:gd name="connsiteY11" fmla="*/ 999331 h 1349375"/>
                <a:gd name="connsiteX12" fmla="*/ 1627187 w 3165475"/>
                <a:gd name="connsiteY12" fmla="*/ 1013618 h 1349375"/>
                <a:gd name="connsiteX13" fmla="*/ 1701006 w 3165475"/>
                <a:gd name="connsiteY13" fmla="*/ 917575 h 1349375"/>
                <a:gd name="connsiteX14" fmla="*/ 1875631 w 3165475"/>
                <a:gd name="connsiteY14" fmla="*/ 897731 h 1349375"/>
                <a:gd name="connsiteX15" fmla="*/ 1952625 w 3165475"/>
                <a:gd name="connsiteY15" fmla="*/ 959644 h 1349375"/>
                <a:gd name="connsiteX16" fmla="*/ 2032000 w 3165475"/>
                <a:gd name="connsiteY16" fmla="*/ 1022350 h 1349375"/>
                <a:gd name="connsiteX17" fmla="*/ 2114550 w 3165475"/>
                <a:gd name="connsiteY17" fmla="*/ 1016000 h 1349375"/>
                <a:gd name="connsiteX18" fmla="*/ 2184400 w 3165475"/>
                <a:gd name="connsiteY18" fmla="*/ 1222375 h 1349375"/>
                <a:gd name="connsiteX19" fmla="*/ 2275681 w 3165475"/>
                <a:gd name="connsiteY19" fmla="*/ 1332706 h 1349375"/>
                <a:gd name="connsiteX20" fmla="*/ 2359819 w 3165475"/>
                <a:gd name="connsiteY20" fmla="*/ 1339056 h 1349375"/>
                <a:gd name="connsiteX21" fmla="*/ 2441575 w 3165475"/>
                <a:gd name="connsiteY21" fmla="*/ 1349375 h 1349375"/>
                <a:gd name="connsiteX22" fmla="*/ 2622550 w 3165475"/>
                <a:gd name="connsiteY22" fmla="*/ 1241425 h 1349375"/>
                <a:gd name="connsiteX23" fmla="*/ 2705100 w 3165475"/>
                <a:gd name="connsiteY23" fmla="*/ 1260475 h 1349375"/>
                <a:gd name="connsiteX24" fmla="*/ 2867025 w 3165475"/>
                <a:gd name="connsiteY24" fmla="*/ 1244600 h 1349375"/>
                <a:gd name="connsiteX25" fmla="*/ 2898775 w 3165475"/>
                <a:gd name="connsiteY25" fmla="*/ 1143000 h 1349375"/>
                <a:gd name="connsiteX26" fmla="*/ 2876550 w 3165475"/>
                <a:gd name="connsiteY26" fmla="*/ 1016000 h 1349375"/>
                <a:gd name="connsiteX27" fmla="*/ 2921000 w 3165475"/>
                <a:gd name="connsiteY27" fmla="*/ 936625 h 1349375"/>
                <a:gd name="connsiteX28" fmla="*/ 2889250 w 3165475"/>
                <a:gd name="connsiteY28" fmla="*/ 771525 h 1349375"/>
                <a:gd name="connsiteX29" fmla="*/ 2974975 w 3165475"/>
                <a:gd name="connsiteY29" fmla="*/ 704850 h 1349375"/>
                <a:gd name="connsiteX30" fmla="*/ 3016250 w 3165475"/>
                <a:gd name="connsiteY30" fmla="*/ 593725 h 1349375"/>
                <a:gd name="connsiteX31" fmla="*/ 3127375 w 3165475"/>
                <a:gd name="connsiteY31" fmla="*/ 549275 h 1349375"/>
                <a:gd name="connsiteX32" fmla="*/ 3117850 w 3165475"/>
                <a:gd name="connsiteY32" fmla="*/ 371475 h 1349375"/>
                <a:gd name="connsiteX33" fmla="*/ 3165475 w 3165475"/>
                <a:gd name="connsiteY33" fmla="*/ 304800 h 1349375"/>
                <a:gd name="connsiteX34" fmla="*/ 3162300 w 3165475"/>
                <a:gd name="connsiteY34" fmla="*/ 142875 h 1349375"/>
                <a:gd name="connsiteX35" fmla="*/ 2924175 w 3165475"/>
                <a:gd name="connsiteY35" fmla="*/ 168275 h 1349375"/>
                <a:gd name="connsiteX36" fmla="*/ 2857500 w 3165475"/>
                <a:gd name="connsiteY36" fmla="*/ 34925 h 1349375"/>
                <a:gd name="connsiteX37" fmla="*/ 2740025 w 3165475"/>
                <a:gd name="connsiteY37" fmla="*/ 168275 h 1349375"/>
                <a:gd name="connsiteX38" fmla="*/ 2746375 w 3165475"/>
                <a:gd name="connsiteY38" fmla="*/ 234950 h 1349375"/>
                <a:gd name="connsiteX39" fmla="*/ 2546350 w 3165475"/>
                <a:gd name="connsiteY39" fmla="*/ 234950 h 1349375"/>
                <a:gd name="connsiteX40" fmla="*/ 2371725 w 3165475"/>
                <a:gd name="connsiteY40" fmla="*/ 155575 h 1349375"/>
                <a:gd name="connsiteX41" fmla="*/ 2254250 w 3165475"/>
                <a:gd name="connsiteY41" fmla="*/ 130175 h 1349375"/>
                <a:gd name="connsiteX42" fmla="*/ 2276475 w 3165475"/>
                <a:gd name="connsiteY42" fmla="*/ 203200 h 1349375"/>
                <a:gd name="connsiteX43" fmla="*/ 2241550 w 3165475"/>
                <a:gd name="connsiteY43" fmla="*/ 276225 h 1349375"/>
                <a:gd name="connsiteX44" fmla="*/ 2308225 w 3165475"/>
                <a:gd name="connsiteY44" fmla="*/ 384175 h 1349375"/>
                <a:gd name="connsiteX45" fmla="*/ 2111375 w 3165475"/>
                <a:gd name="connsiteY45" fmla="*/ 450850 h 1349375"/>
                <a:gd name="connsiteX46" fmla="*/ 2047875 w 3165475"/>
                <a:gd name="connsiteY46" fmla="*/ 406400 h 1349375"/>
                <a:gd name="connsiteX47" fmla="*/ 1908175 w 3165475"/>
                <a:gd name="connsiteY47" fmla="*/ 374650 h 1349375"/>
                <a:gd name="connsiteX48" fmla="*/ 1892300 w 3165475"/>
                <a:gd name="connsiteY48" fmla="*/ 288925 h 1349375"/>
                <a:gd name="connsiteX49" fmla="*/ 1819275 w 3165475"/>
                <a:gd name="connsiteY49" fmla="*/ 206375 h 1349375"/>
                <a:gd name="connsiteX50" fmla="*/ 1730375 w 3165475"/>
                <a:gd name="connsiteY50" fmla="*/ 193675 h 1349375"/>
                <a:gd name="connsiteX51" fmla="*/ 1676400 w 3165475"/>
                <a:gd name="connsiteY51" fmla="*/ 219075 h 1349375"/>
                <a:gd name="connsiteX52" fmla="*/ 1704975 w 3165475"/>
                <a:gd name="connsiteY52" fmla="*/ 304800 h 1349375"/>
                <a:gd name="connsiteX53" fmla="*/ 1606550 w 3165475"/>
                <a:gd name="connsiteY53" fmla="*/ 295275 h 1349375"/>
                <a:gd name="connsiteX54" fmla="*/ 1587500 w 3165475"/>
                <a:gd name="connsiteY54" fmla="*/ 346075 h 1349375"/>
                <a:gd name="connsiteX55" fmla="*/ 1485900 w 3165475"/>
                <a:gd name="connsiteY55" fmla="*/ 311150 h 1349375"/>
                <a:gd name="connsiteX56" fmla="*/ 1501775 w 3165475"/>
                <a:gd name="connsiteY56" fmla="*/ 241300 h 1349375"/>
                <a:gd name="connsiteX57" fmla="*/ 1447800 w 3165475"/>
                <a:gd name="connsiteY57" fmla="*/ 219075 h 1349375"/>
                <a:gd name="connsiteX58" fmla="*/ 1409700 w 3165475"/>
                <a:gd name="connsiteY58" fmla="*/ 238125 h 1349375"/>
                <a:gd name="connsiteX59" fmla="*/ 1371600 w 3165475"/>
                <a:gd name="connsiteY59" fmla="*/ 196850 h 1349375"/>
                <a:gd name="connsiteX60" fmla="*/ 1314450 w 3165475"/>
                <a:gd name="connsiteY60" fmla="*/ 215900 h 1349375"/>
                <a:gd name="connsiteX61" fmla="*/ 1244600 w 3165475"/>
                <a:gd name="connsiteY61" fmla="*/ 180975 h 1349375"/>
                <a:gd name="connsiteX62" fmla="*/ 1184275 w 3165475"/>
                <a:gd name="connsiteY62" fmla="*/ 203200 h 1349375"/>
                <a:gd name="connsiteX63" fmla="*/ 1133475 w 3165475"/>
                <a:gd name="connsiteY63" fmla="*/ 79375 h 1349375"/>
                <a:gd name="connsiteX64" fmla="*/ 981075 w 3165475"/>
                <a:gd name="connsiteY64" fmla="*/ 76200 h 1349375"/>
                <a:gd name="connsiteX65" fmla="*/ 825500 w 3165475"/>
                <a:gd name="connsiteY65" fmla="*/ 0 h 1349375"/>
                <a:gd name="connsiteX66" fmla="*/ 819150 w 3165475"/>
                <a:gd name="connsiteY66" fmla="*/ 66675 h 1349375"/>
                <a:gd name="connsiteX67" fmla="*/ 714375 w 3165475"/>
                <a:gd name="connsiteY67" fmla="*/ 34925 h 1349375"/>
                <a:gd name="connsiteX68" fmla="*/ 638175 w 3165475"/>
                <a:gd name="connsiteY68" fmla="*/ 136525 h 1349375"/>
                <a:gd name="connsiteX69" fmla="*/ 577850 w 3165475"/>
                <a:gd name="connsiteY69" fmla="*/ 66675 h 1349375"/>
                <a:gd name="connsiteX70" fmla="*/ 485775 w 3165475"/>
                <a:gd name="connsiteY70" fmla="*/ 57150 h 1349375"/>
                <a:gd name="connsiteX71" fmla="*/ 447675 w 3165475"/>
                <a:gd name="connsiteY71" fmla="*/ 0 h 1349375"/>
                <a:gd name="connsiteX72" fmla="*/ 393700 w 3165475"/>
                <a:gd name="connsiteY72" fmla="*/ 57150 h 1349375"/>
                <a:gd name="connsiteX73" fmla="*/ 349250 w 3165475"/>
                <a:gd name="connsiteY73" fmla="*/ 15875 h 1349375"/>
                <a:gd name="connsiteX74" fmla="*/ 279400 w 3165475"/>
                <a:gd name="connsiteY74" fmla="*/ 19050 h 1349375"/>
                <a:gd name="connsiteX75" fmla="*/ 209550 w 3165475"/>
                <a:gd name="connsiteY75" fmla="*/ 111125 h 1349375"/>
                <a:gd name="connsiteX76" fmla="*/ 142875 w 3165475"/>
                <a:gd name="connsiteY76" fmla="*/ 139700 h 1349375"/>
                <a:gd name="connsiteX77" fmla="*/ 215900 w 3165475"/>
                <a:gd name="connsiteY77" fmla="*/ 190500 h 1349375"/>
                <a:gd name="connsiteX78" fmla="*/ 79375 w 3165475"/>
                <a:gd name="connsiteY78" fmla="*/ 288925 h 1349375"/>
                <a:gd name="connsiteX79" fmla="*/ 95250 w 3165475"/>
                <a:gd name="connsiteY79" fmla="*/ 387350 h 1349375"/>
                <a:gd name="connsiteX80" fmla="*/ 0 w 3165475"/>
                <a:gd name="connsiteY80" fmla="*/ 431800 h 1349375"/>
                <a:gd name="connsiteX81" fmla="*/ 12700 w 3165475"/>
                <a:gd name="connsiteY81" fmla="*/ 628650 h 1349375"/>
                <a:gd name="connsiteX82" fmla="*/ 98425 w 3165475"/>
                <a:gd name="connsiteY82" fmla="*/ 628650 h 1349375"/>
                <a:gd name="connsiteX83" fmla="*/ 98425 w 3165475"/>
                <a:gd name="connsiteY83" fmla="*/ 676275 h 1349375"/>
                <a:gd name="connsiteX84" fmla="*/ 152400 w 3165475"/>
                <a:gd name="connsiteY84" fmla="*/ 733425 h 1349375"/>
                <a:gd name="connsiteX85" fmla="*/ 158750 w 3165475"/>
                <a:gd name="connsiteY85" fmla="*/ 835025 h 1349375"/>
                <a:gd name="connsiteX86" fmla="*/ 247650 w 3165475"/>
                <a:gd name="connsiteY86" fmla="*/ 889000 h 1349375"/>
                <a:gd name="connsiteX87" fmla="*/ 190500 w 3165475"/>
                <a:gd name="connsiteY87" fmla="*/ 968375 h 1349375"/>
                <a:gd name="connsiteX88" fmla="*/ 190500 w 3165475"/>
                <a:gd name="connsiteY88" fmla="*/ 1139825 h 1349375"/>
                <a:gd name="connsiteX89" fmla="*/ 282575 w 3165475"/>
                <a:gd name="connsiteY89" fmla="*/ 1184275 h 1349375"/>
                <a:gd name="connsiteX90" fmla="*/ 339725 w 3165475"/>
                <a:gd name="connsiteY90" fmla="*/ 1130300 h 1349375"/>
                <a:gd name="connsiteX91" fmla="*/ 460375 w 3165475"/>
                <a:gd name="connsiteY91" fmla="*/ 1136650 h 1349375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2550 w 3165475"/>
                <a:gd name="connsiteY22" fmla="*/ 1241425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898775 w 3165475"/>
                <a:gd name="connsiteY25" fmla="*/ 1143000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16250 w 3165475"/>
                <a:gd name="connsiteY30" fmla="*/ 593725 h 1365250"/>
                <a:gd name="connsiteX31" fmla="*/ 3127375 w 3165475"/>
                <a:gd name="connsiteY31" fmla="*/ 549275 h 1365250"/>
                <a:gd name="connsiteX32" fmla="*/ 3117850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0169 w 3165475"/>
                <a:gd name="connsiteY22" fmla="*/ 1248569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898775 w 3165475"/>
                <a:gd name="connsiteY25" fmla="*/ 1143000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16250 w 3165475"/>
                <a:gd name="connsiteY30" fmla="*/ 593725 h 1365250"/>
                <a:gd name="connsiteX31" fmla="*/ 3127375 w 3165475"/>
                <a:gd name="connsiteY31" fmla="*/ 549275 h 1365250"/>
                <a:gd name="connsiteX32" fmla="*/ 3117850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0169 w 3165475"/>
                <a:gd name="connsiteY22" fmla="*/ 1248569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903537 w 3165475"/>
                <a:gd name="connsiteY25" fmla="*/ 1185862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16250 w 3165475"/>
                <a:gd name="connsiteY30" fmla="*/ 593725 h 1365250"/>
                <a:gd name="connsiteX31" fmla="*/ 3127375 w 3165475"/>
                <a:gd name="connsiteY31" fmla="*/ 549275 h 1365250"/>
                <a:gd name="connsiteX32" fmla="*/ 3117850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0169 w 3165475"/>
                <a:gd name="connsiteY22" fmla="*/ 1248569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896394 w 3165475"/>
                <a:gd name="connsiteY25" fmla="*/ 1100137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16250 w 3165475"/>
                <a:gd name="connsiteY30" fmla="*/ 593725 h 1365250"/>
                <a:gd name="connsiteX31" fmla="*/ 3127375 w 3165475"/>
                <a:gd name="connsiteY31" fmla="*/ 549275 h 1365250"/>
                <a:gd name="connsiteX32" fmla="*/ 3117850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0169 w 3165475"/>
                <a:gd name="connsiteY22" fmla="*/ 1248569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896394 w 3165475"/>
                <a:gd name="connsiteY25" fmla="*/ 1100137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32918 w 3165475"/>
                <a:gd name="connsiteY30" fmla="*/ 605631 h 1365250"/>
                <a:gd name="connsiteX31" fmla="*/ 3127375 w 3165475"/>
                <a:gd name="connsiteY31" fmla="*/ 549275 h 1365250"/>
                <a:gd name="connsiteX32" fmla="*/ 3117850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65475"/>
                <a:gd name="connsiteY0" fmla="*/ 1136650 h 1365250"/>
                <a:gd name="connsiteX1" fmla="*/ 460375 w 3165475"/>
                <a:gd name="connsiteY1" fmla="*/ 1136650 h 1365250"/>
                <a:gd name="connsiteX2" fmla="*/ 508000 w 3165475"/>
                <a:gd name="connsiteY2" fmla="*/ 1085850 h 1365250"/>
                <a:gd name="connsiteX3" fmla="*/ 527050 w 3165475"/>
                <a:gd name="connsiteY3" fmla="*/ 1060450 h 1365250"/>
                <a:gd name="connsiteX4" fmla="*/ 534987 w 3165475"/>
                <a:gd name="connsiteY4" fmla="*/ 1001712 h 1365250"/>
                <a:gd name="connsiteX5" fmla="*/ 720725 w 3165475"/>
                <a:gd name="connsiteY5" fmla="*/ 955675 h 1365250"/>
                <a:gd name="connsiteX6" fmla="*/ 890588 w 3165475"/>
                <a:gd name="connsiteY6" fmla="*/ 920750 h 1365250"/>
                <a:gd name="connsiteX7" fmla="*/ 1092200 w 3165475"/>
                <a:gd name="connsiteY7" fmla="*/ 966788 h 1365250"/>
                <a:gd name="connsiteX8" fmla="*/ 1174750 w 3165475"/>
                <a:gd name="connsiteY8" fmla="*/ 1019175 h 1365250"/>
                <a:gd name="connsiteX9" fmla="*/ 1265238 w 3165475"/>
                <a:gd name="connsiteY9" fmla="*/ 1011237 h 1365250"/>
                <a:gd name="connsiteX10" fmla="*/ 1407319 w 3165475"/>
                <a:gd name="connsiteY10" fmla="*/ 1073150 h 1365250"/>
                <a:gd name="connsiteX11" fmla="*/ 1500187 w 3165475"/>
                <a:gd name="connsiteY11" fmla="*/ 999331 h 1365250"/>
                <a:gd name="connsiteX12" fmla="*/ 1627187 w 3165475"/>
                <a:gd name="connsiteY12" fmla="*/ 1013618 h 1365250"/>
                <a:gd name="connsiteX13" fmla="*/ 1701006 w 3165475"/>
                <a:gd name="connsiteY13" fmla="*/ 917575 h 1365250"/>
                <a:gd name="connsiteX14" fmla="*/ 1875631 w 3165475"/>
                <a:gd name="connsiteY14" fmla="*/ 897731 h 1365250"/>
                <a:gd name="connsiteX15" fmla="*/ 1952625 w 3165475"/>
                <a:gd name="connsiteY15" fmla="*/ 959644 h 1365250"/>
                <a:gd name="connsiteX16" fmla="*/ 2032000 w 3165475"/>
                <a:gd name="connsiteY16" fmla="*/ 1022350 h 1365250"/>
                <a:gd name="connsiteX17" fmla="*/ 2114550 w 3165475"/>
                <a:gd name="connsiteY17" fmla="*/ 1016000 h 1365250"/>
                <a:gd name="connsiteX18" fmla="*/ 2184400 w 3165475"/>
                <a:gd name="connsiteY18" fmla="*/ 1222375 h 1365250"/>
                <a:gd name="connsiteX19" fmla="*/ 2275681 w 3165475"/>
                <a:gd name="connsiteY19" fmla="*/ 1332706 h 1365250"/>
                <a:gd name="connsiteX20" fmla="*/ 2362200 w 3165475"/>
                <a:gd name="connsiteY20" fmla="*/ 1365250 h 1365250"/>
                <a:gd name="connsiteX21" fmla="*/ 2441575 w 3165475"/>
                <a:gd name="connsiteY21" fmla="*/ 1349375 h 1365250"/>
                <a:gd name="connsiteX22" fmla="*/ 2620169 w 3165475"/>
                <a:gd name="connsiteY22" fmla="*/ 1248569 h 1365250"/>
                <a:gd name="connsiteX23" fmla="*/ 2705100 w 3165475"/>
                <a:gd name="connsiteY23" fmla="*/ 1260475 h 1365250"/>
                <a:gd name="connsiteX24" fmla="*/ 2867025 w 3165475"/>
                <a:gd name="connsiteY24" fmla="*/ 1244600 h 1365250"/>
                <a:gd name="connsiteX25" fmla="*/ 2896394 w 3165475"/>
                <a:gd name="connsiteY25" fmla="*/ 1100137 h 1365250"/>
                <a:gd name="connsiteX26" fmla="*/ 2876550 w 3165475"/>
                <a:gd name="connsiteY26" fmla="*/ 1016000 h 1365250"/>
                <a:gd name="connsiteX27" fmla="*/ 2921000 w 3165475"/>
                <a:gd name="connsiteY27" fmla="*/ 936625 h 1365250"/>
                <a:gd name="connsiteX28" fmla="*/ 2889250 w 3165475"/>
                <a:gd name="connsiteY28" fmla="*/ 771525 h 1365250"/>
                <a:gd name="connsiteX29" fmla="*/ 2974975 w 3165475"/>
                <a:gd name="connsiteY29" fmla="*/ 704850 h 1365250"/>
                <a:gd name="connsiteX30" fmla="*/ 3032918 w 3165475"/>
                <a:gd name="connsiteY30" fmla="*/ 605631 h 1365250"/>
                <a:gd name="connsiteX31" fmla="*/ 3127375 w 3165475"/>
                <a:gd name="connsiteY31" fmla="*/ 549275 h 1365250"/>
                <a:gd name="connsiteX32" fmla="*/ 3129757 w 3165475"/>
                <a:gd name="connsiteY32" fmla="*/ 371475 h 1365250"/>
                <a:gd name="connsiteX33" fmla="*/ 3165475 w 3165475"/>
                <a:gd name="connsiteY33" fmla="*/ 304800 h 1365250"/>
                <a:gd name="connsiteX34" fmla="*/ 3162300 w 3165475"/>
                <a:gd name="connsiteY34" fmla="*/ 142875 h 1365250"/>
                <a:gd name="connsiteX35" fmla="*/ 2924175 w 3165475"/>
                <a:gd name="connsiteY35" fmla="*/ 168275 h 1365250"/>
                <a:gd name="connsiteX36" fmla="*/ 2857500 w 3165475"/>
                <a:gd name="connsiteY36" fmla="*/ 34925 h 1365250"/>
                <a:gd name="connsiteX37" fmla="*/ 2740025 w 3165475"/>
                <a:gd name="connsiteY37" fmla="*/ 168275 h 1365250"/>
                <a:gd name="connsiteX38" fmla="*/ 2746375 w 3165475"/>
                <a:gd name="connsiteY38" fmla="*/ 234950 h 1365250"/>
                <a:gd name="connsiteX39" fmla="*/ 2546350 w 3165475"/>
                <a:gd name="connsiteY39" fmla="*/ 234950 h 1365250"/>
                <a:gd name="connsiteX40" fmla="*/ 2371725 w 3165475"/>
                <a:gd name="connsiteY40" fmla="*/ 155575 h 1365250"/>
                <a:gd name="connsiteX41" fmla="*/ 2254250 w 3165475"/>
                <a:gd name="connsiteY41" fmla="*/ 130175 h 1365250"/>
                <a:gd name="connsiteX42" fmla="*/ 2276475 w 3165475"/>
                <a:gd name="connsiteY42" fmla="*/ 203200 h 1365250"/>
                <a:gd name="connsiteX43" fmla="*/ 2241550 w 3165475"/>
                <a:gd name="connsiteY43" fmla="*/ 276225 h 1365250"/>
                <a:gd name="connsiteX44" fmla="*/ 2308225 w 3165475"/>
                <a:gd name="connsiteY44" fmla="*/ 384175 h 1365250"/>
                <a:gd name="connsiteX45" fmla="*/ 2111375 w 3165475"/>
                <a:gd name="connsiteY45" fmla="*/ 450850 h 1365250"/>
                <a:gd name="connsiteX46" fmla="*/ 2047875 w 3165475"/>
                <a:gd name="connsiteY46" fmla="*/ 406400 h 1365250"/>
                <a:gd name="connsiteX47" fmla="*/ 1908175 w 3165475"/>
                <a:gd name="connsiteY47" fmla="*/ 374650 h 1365250"/>
                <a:gd name="connsiteX48" fmla="*/ 1892300 w 3165475"/>
                <a:gd name="connsiteY48" fmla="*/ 288925 h 1365250"/>
                <a:gd name="connsiteX49" fmla="*/ 1819275 w 3165475"/>
                <a:gd name="connsiteY49" fmla="*/ 206375 h 1365250"/>
                <a:gd name="connsiteX50" fmla="*/ 1730375 w 3165475"/>
                <a:gd name="connsiteY50" fmla="*/ 193675 h 1365250"/>
                <a:gd name="connsiteX51" fmla="*/ 1676400 w 3165475"/>
                <a:gd name="connsiteY51" fmla="*/ 219075 h 1365250"/>
                <a:gd name="connsiteX52" fmla="*/ 1704975 w 3165475"/>
                <a:gd name="connsiteY52" fmla="*/ 304800 h 1365250"/>
                <a:gd name="connsiteX53" fmla="*/ 1606550 w 3165475"/>
                <a:gd name="connsiteY53" fmla="*/ 295275 h 1365250"/>
                <a:gd name="connsiteX54" fmla="*/ 1587500 w 3165475"/>
                <a:gd name="connsiteY54" fmla="*/ 346075 h 1365250"/>
                <a:gd name="connsiteX55" fmla="*/ 1485900 w 3165475"/>
                <a:gd name="connsiteY55" fmla="*/ 311150 h 1365250"/>
                <a:gd name="connsiteX56" fmla="*/ 1501775 w 3165475"/>
                <a:gd name="connsiteY56" fmla="*/ 241300 h 1365250"/>
                <a:gd name="connsiteX57" fmla="*/ 1447800 w 3165475"/>
                <a:gd name="connsiteY57" fmla="*/ 219075 h 1365250"/>
                <a:gd name="connsiteX58" fmla="*/ 1409700 w 3165475"/>
                <a:gd name="connsiteY58" fmla="*/ 238125 h 1365250"/>
                <a:gd name="connsiteX59" fmla="*/ 1371600 w 3165475"/>
                <a:gd name="connsiteY59" fmla="*/ 196850 h 1365250"/>
                <a:gd name="connsiteX60" fmla="*/ 1314450 w 3165475"/>
                <a:gd name="connsiteY60" fmla="*/ 215900 h 1365250"/>
                <a:gd name="connsiteX61" fmla="*/ 1244600 w 3165475"/>
                <a:gd name="connsiteY61" fmla="*/ 180975 h 1365250"/>
                <a:gd name="connsiteX62" fmla="*/ 1184275 w 3165475"/>
                <a:gd name="connsiteY62" fmla="*/ 203200 h 1365250"/>
                <a:gd name="connsiteX63" fmla="*/ 1133475 w 3165475"/>
                <a:gd name="connsiteY63" fmla="*/ 79375 h 1365250"/>
                <a:gd name="connsiteX64" fmla="*/ 981075 w 3165475"/>
                <a:gd name="connsiteY64" fmla="*/ 76200 h 1365250"/>
                <a:gd name="connsiteX65" fmla="*/ 825500 w 3165475"/>
                <a:gd name="connsiteY65" fmla="*/ 0 h 1365250"/>
                <a:gd name="connsiteX66" fmla="*/ 819150 w 3165475"/>
                <a:gd name="connsiteY66" fmla="*/ 66675 h 1365250"/>
                <a:gd name="connsiteX67" fmla="*/ 714375 w 3165475"/>
                <a:gd name="connsiteY67" fmla="*/ 34925 h 1365250"/>
                <a:gd name="connsiteX68" fmla="*/ 638175 w 3165475"/>
                <a:gd name="connsiteY68" fmla="*/ 136525 h 1365250"/>
                <a:gd name="connsiteX69" fmla="*/ 577850 w 3165475"/>
                <a:gd name="connsiteY69" fmla="*/ 66675 h 1365250"/>
                <a:gd name="connsiteX70" fmla="*/ 485775 w 3165475"/>
                <a:gd name="connsiteY70" fmla="*/ 57150 h 1365250"/>
                <a:gd name="connsiteX71" fmla="*/ 447675 w 3165475"/>
                <a:gd name="connsiteY71" fmla="*/ 0 h 1365250"/>
                <a:gd name="connsiteX72" fmla="*/ 393700 w 3165475"/>
                <a:gd name="connsiteY72" fmla="*/ 57150 h 1365250"/>
                <a:gd name="connsiteX73" fmla="*/ 349250 w 3165475"/>
                <a:gd name="connsiteY73" fmla="*/ 15875 h 1365250"/>
                <a:gd name="connsiteX74" fmla="*/ 279400 w 3165475"/>
                <a:gd name="connsiteY74" fmla="*/ 19050 h 1365250"/>
                <a:gd name="connsiteX75" fmla="*/ 209550 w 3165475"/>
                <a:gd name="connsiteY75" fmla="*/ 111125 h 1365250"/>
                <a:gd name="connsiteX76" fmla="*/ 142875 w 3165475"/>
                <a:gd name="connsiteY76" fmla="*/ 139700 h 1365250"/>
                <a:gd name="connsiteX77" fmla="*/ 215900 w 3165475"/>
                <a:gd name="connsiteY77" fmla="*/ 190500 h 1365250"/>
                <a:gd name="connsiteX78" fmla="*/ 79375 w 3165475"/>
                <a:gd name="connsiteY78" fmla="*/ 288925 h 1365250"/>
                <a:gd name="connsiteX79" fmla="*/ 95250 w 3165475"/>
                <a:gd name="connsiteY79" fmla="*/ 387350 h 1365250"/>
                <a:gd name="connsiteX80" fmla="*/ 0 w 3165475"/>
                <a:gd name="connsiteY80" fmla="*/ 431800 h 1365250"/>
                <a:gd name="connsiteX81" fmla="*/ 12700 w 3165475"/>
                <a:gd name="connsiteY81" fmla="*/ 628650 h 1365250"/>
                <a:gd name="connsiteX82" fmla="*/ 98425 w 3165475"/>
                <a:gd name="connsiteY82" fmla="*/ 628650 h 1365250"/>
                <a:gd name="connsiteX83" fmla="*/ 98425 w 3165475"/>
                <a:gd name="connsiteY83" fmla="*/ 676275 h 1365250"/>
                <a:gd name="connsiteX84" fmla="*/ 152400 w 3165475"/>
                <a:gd name="connsiteY84" fmla="*/ 733425 h 1365250"/>
                <a:gd name="connsiteX85" fmla="*/ 158750 w 3165475"/>
                <a:gd name="connsiteY85" fmla="*/ 835025 h 1365250"/>
                <a:gd name="connsiteX86" fmla="*/ 247650 w 3165475"/>
                <a:gd name="connsiteY86" fmla="*/ 889000 h 1365250"/>
                <a:gd name="connsiteX87" fmla="*/ 190500 w 3165475"/>
                <a:gd name="connsiteY87" fmla="*/ 968375 h 1365250"/>
                <a:gd name="connsiteX88" fmla="*/ 190500 w 3165475"/>
                <a:gd name="connsiteY88" fmla="*/ 1139825 h 1365250"/>
                <a:gd name="connsiteX89" fmla="*/ 282575 w 3165475"/>
                <a:gd name="connsiteY89" fmla="*/ 1184275 h 1365250"/>
                <a:gd name="connsiteX90" fmla="*/ 339725 w 3165475"/>
                <a:gd name="connsiteY90" fmla="*/ 1130300 h 1365250"/>
                <a:gd name="connsiteX91" fmla="*/ 460375 w 3165475"/>
                <a:gd name="connsiteY91" fmla="*/ 1136650 h 1365250"/>
                <a:gd name="connsiteX0" fmla="*/ 460375 w 3172618"/>
                <a:gd name="connsiteY0" fmla="*/ 1136650 h 1365250"/>
                <a:gd name="connsiteX1" fmla="*/ 460375 w 3172618"/>
                <a:gd name="connsiteY1" fmla="*/ 1136650 h 1365250"/>
                <a:gd name="connsiteX2" fmla="*/ 508000 w 3172618"/>
                <a:gd name="connsiteY2" fmla="*/ 1085850 h 1365250"/>
                <a:gd name="connsiteX3" fmla="*/ 527050 w 3172618"/>
                <a:gd name="connsiteY3" fmla="*/ 1060450 h 1365250"/>
                <a:gd name="connsiteX4" fmla="*/ 534987 w 3172618"/>
                <a:gd name="connsiteY4" fmla="*/ 1001712 h 1365250"/>
                <a:gd name="connsiteX5" fmla="*/ 720725 w 3172618"/>
                <a:gd name="connsiteY5" fmla="*/ 955675 h 1365250"/>
                <a:gd name="connsiteX6" fmla="*/ 890588 w 3172618"/>
                <a:gd name="connsiteY6" fmla="*/ 920750 h 1365250"/>
                <a:gd name="connsiteX7" fmla="*/ 1092200 w 3172618"/>
                <a:gd name="connsiteY7" fmla="*/ 966788 h 1365250"/>
                <a:gd name="connsiteX8" fmla="*/ 1174750 w 3172618"/>
                <a:gd name="connsiteY8" fmla="*/ 1019175 h 1365250"/>
                <a:gd name="connsiteX9" fmla="*/ 1265238 w 3172618"/>
                <a:gd name="connsiteY9" fmla="*/ 1011237 h 1365250"/>
                <a:gd name="connsiteX10" fmla="*/ 1407319 w 3172618"/>
                <a:gd name="connsiteY10" fmla="*/ 1073150 h 1365250"/>
                <a:gd name="connsiteX11" fmla="*/ 1500187 w 3172618"/>
                <a:gd name="connsiteY11" fmla="*/ 999331 h 1365250"/>
                <a:gd name="connsiteX12" fmla="*/ 1627187 w 3172618"/>
                <a:gd name="connsiteY12" fmla="*/ 1013618 h 1365250"/>
                <a:gd name="connsiteX13" fmla="*/ 1701006 w 3172618"/>
                <a:gd name="connsiteY13" fmla="*/ 917575 h 1365250"/>
                <a:gd name="connsiteX14" fmla="*/ 1875631 w 3172618"/>
                <a:gd name="connsiteY14" fmla="*/ 897731 h 1365250"/>
                <a:gd name="connsiteX15" fmla="*/ 1952625 w 3172618"/>
                <a:gd name="connsiteY15" fmla="*/ 959644 h 1365250"/>
                <a:gd name="connsiteX16" fmla="*/ 2032000 w 3172618"/>
                <a:gd name="connsiteY16" fmla="*/ 1022350 h 1365250"/>
                <a:gd name="connsiteX17" fmla="*/ 2114550 w 3172618"/>
                <a:gd name="connsiteY17" fmla="*/ 1016000 h 1365250"/>
                <a:gd name="connsiteX18" fmla="*/ 2184400 w 3172618"/>
                <a:gd name="connsiteY18" fmla="*/ 1222375 h 1365250"/>
                <a:gd name="connsiteX19" fmla="*/ 2275681 w 3172618"/>
                <a:gd name="connsiteY19" fmla="*/ 1332706 h 1365250"/>
                <a:gd name="connsiteX20" fmla="*/ 2362200 w 3172618"/>
                <a:gd name="connsiteY20" fmla="*/ 1365250 h 1365250"/>
                <a:gd name="connsiteX21" fmla="*/ 2441575 w 3172618"/>
                <a:gd name="connsiteY21" fmla="*/ 1349375 h 1365250"/>
                <a:gd name="connsiteX22" fmla="*/ 2620169 w 3172618"/>
                <a:gd name="connsiteY22" fmla="*/ 1248569 h 1365250"/>
                <a:gd name="connsiteX23" fmla="*/ 2705100 w 3172618"/>
                <a:gd name="connsiteY23" fmla="*/ 1260475 h 1365250"/>
                <a:gd name="connsiteX24" fmla="*/ 2867025 w 3172618"/>
                <a:gd name="connsiteY24" fmla="*/ 1244600 h 1365250"/>
                <a:gd name="connsiteX25" fmla="*/ 2896394 w 3172618"/>
                <a:gd name="connsiteY25" fmla="*/ 1100137 h 1365250"/>
                <a:gd name="connsiteX26" fmla="*/ 2876550 w 3172618"/>
                <a:gd name="connsiteY26" fmla="*/ 1016000 h 1365250"/>
                <a:gd name="connsiteX27" fmla="*/ 2921000 w 3172618"/>
                <a:gd name="connsiteY27" fmla="*/ 936625 h 1365250"/>
                <a:gd name="connsiteX28" fmla="*/ 2889250 w 3172618"/>
                <a:gd name="connsiteY28" fmla="*/ 771525 h 1365250"/>
                <a:gd name="connsiteX29" fmla="*/ 2974975 w 3172618"/>
                <a:gd name="connsiteY29" fmla="*/ 704850 h 1365250"/>
                <a:gd name="connsiteX30" fmla="*/ 3032918 w 3172618"/>
                <a:gd name="connsiteY30" fmla="*/ 605631 h 1365250"/>
                <a:gd name="connsiteX31" fmla="*/ 3127375 w 3172618"/>
                <a:gd name="connsiteY31" fmla="*/ 549275 h 1365250"/>
                <a:gd name="connsiteX32" fmla="*/ 3129757 w 3172618"/>
                <a:gd name="connsiteY32" fmla="*/ 371475 h 1365250"/>
                <a:gd name="connsiteX33" fmla="*/ 3172618 w 3172618"/>
                <a:gd name="connsiteY33" fmla="*/ 323850 h 1365250"/>
                <a:gd name="connsiteX34" fmla="*/ 3162300 w 3172618"/>
                <a:gd name="connsiteY34" fmla="*/ 142875 h 1365250"/>
                <a:gd name="connsiteX35" fmla="*/ 2924175 w 3172618"/>
                <a:gd name="connsiteY35" fmla="*/ 168275 h 1365250"/>
                <a:gd name="connsiteX36" fmla="*/ 2857500 w 3172618"/>
                <a:gd name="connsiteY36" fmla="*/ 34925 h 1365250"/>
                <a:gd name="connsiteX37" fmla="*/ 2740025 w 3172618"/>
                <a:gd name="connsiteY37" fmla="*/ 168275 h 1365250"/>
                <a:gd name="connsiteX38" fmla="*/ 2746375 w 3172618"/>
                <a:gd name="connsiteY38" fmla="*/ 234950 h 1365250"/>
                <a:gd name="connsiteX39" fmla="*/ 2546350 w 3172618"/>
                <a:gd name="connsiteY39" fmla="*/ 234950 h 1365250"/>
                <a:gd name="connsiteX40" fmla="*/ 2371725 w 3172618"/>
                <a:gd name="connsiteY40" fmla="*/ 155575 h 1365250"/>
                <a:gd name="connsiteX41" fmla="*/ 2254250 w 3172618"/>
                <a:gd name="connsiteY41" fmla="*/ 130175 h 1365250"/>
                <a:gd name="connsiteX42" fmla="*/ 2276475 w 3172618"/>
                <a:gd name="connsiteY42" fmla="*/ 203200 h 1365250"/>
                <a:gd name="connsiteX43" fmla="*/ 2241550 w 3172618"/>
                <a:gd name="connsiteY43" fmla="*/ 276225 h 1365250"/>
                <a:gd name="connsiteX44" fmla="*/ 2308225 w 3172618"/>
                <a:gd name="connsiteY44" fmla="*/ 384175 h 1365250"/>
                <a:gd name="connsiteX45" fmla="*/ 2111375 w 3172618"/>
                <a:gd name="connsiteY45" fmla="*/ 450850 h 1365250"/>
                <a:gd name="connsiteX46" fmla="*/ 2047875 w 3172618"/>
                <a:gd name="connsiteY46" fmla="*/ 406400 h 1365250"/>
                <a:gd name="connsiteX47" fmla="*/ 1908175 w 3172618"/>
                <a:gd name="connsiteY47" fmla="*/ 374650 h 1365250"/>
                <a:gd name="connsiteX48" fmla="*/ 1892300 w 3172618"/>
                <a:gd name="connsiteY48" fmla="*/ 288925 h 1365250"/>
                <a:gd name="connsiteX49" fmla="*/ 1819275 w 3172618"/>
                <a:gd name="connsiteY49" fmla="*/ 206375 h 1365250"/>
                <a:gd name="connsiteX50" fmla="*/ 1730375 w 3172618"/>
                <a:gd name="connsiteY50" fmla="*/ 193675 h 1365250"/>
                <a:gd name="connsiteX51" fmla="*/ 1676400 w 3172618"/>
                <a:gd name="connsiteY51" fmla="*/ 219075 h 1365250"/>
                <a:gd name="connsiteX52" fmla="*/ 1704975 w 3172618"/>
                <a:gd name="connsiteY52" fmla="*/ 304800 h 1365250"/>
                <a:gd name="connsiteX53" fmla="*/ 1606550 w 3172618"/>
                <a:gd name="connsiteY53" fmla="*/ 295275 h 1365250"/>
                <a:gd name="connsiteX54" fmla="*/ 1587500 w 3172618"/>
                <a:gd name="connsiteY54" fmla="*/ 346075 h 1365250"/>
                <a:gd name="connsiteX55" fmla="*/ 1485900 w 3172618"/>
                <a:gd name="connsiteY55" fmla="*/ 311150 h 1365250"/>
                <a:gd name="connsiteX56" fmla="*/ 1501775 w 3172618"/>
                <a:gd name="connsiteY56" fmla="*/ 241300 h 1365250"/>
                <a:gd name="connsiteX57" fmla="*/ 1447800 w 3172618"/>
                <a:gd name="connsiteY57" fmla="*/ 219075 h 1365250"/>
                <a:gd name="connsiteX58" fmla="*/ 1409700 w 3172618"/>
                <a:gd name="connsiteY58" fmla="*/ 238125 h 1365250"/>
                <a:gd name="connsiteX59" fmla="*/ 1371600 w 3172618"/>
                <a:gd name="connsiteY59" fmla="*/ 196850 h 1365250"/>
                <a:gd name="connsiteX60" fmla="*/ 1314450 w 3172618"/>
                <a:gd name="connsiteY60" fmla="*/ 215900 h 1365250"/>
                <a:gd name="connsiteX61" fmla="*/ 1244600 w 3172618"/>
                <a:gd name="connsiteY61" fmla="*/ 180975 h 1365250"/>
                <a:gd name="connsiteX62" fmla="*/ 1184275 w 3172618"/>
                <a:gd name="connsiteY62" fmla="*/ 203200 h 1365250"/>
                <a:gd name="connsiteX63" fmla="*/ 1133475 w 3172618"/>
                <a:gd name="connsiteY63" fmla="*/ 79375 h 1365250"/>
                <a:gd name="connsiteX64" fmla="*/ 981075 w 3172618"/>
                <a:gd name="connsiteY64" fmla="*/ 76200 h 1365250"/>
                <a:gd name="connsiteX65" fmla="*/ 825500 w 3172618"/>
                <a:gd name="connsiteY65" fmla="*/ 0 h 1365250"/>
                <a:gd name="connsiteX66" fmla="*/ 819150 w 3172618"/>
                <a:gd name="connsiteY66" fmla="*/ 66675 h 1365250"/>
                <a:gd name="connsiteX67" fmla="*/ 714375 w 3172618"/>
                <a:gd name="connsiteY67" fmla="*/ 34925 h 1365250"/>
                <a:gd name="connsiteX68" fmla="*/ 638175 w 3172618"/>
                <a:gd name="connsiteY68" fmla="*/ 136525 h 1365250"/>
                <a:gd name="connsiteX69" fmla="*/ 577850 w 3172618"/>
                <a:gd name="connsiteY69" fmla="*/ 66675 h 1365250"/>
                <a:gd name="connsiteX70" fmla="*/ 485775 w 3172618"/>
                <a:gd name="connsiteY70" fmla="*/ 57150 h 1365250"/>
                <a:gd name="connsiteX71" fmla="*/ 447675 w 3172618"/>
                <a:gd name="connsiteY71" fmla="*/ 0 h 1365250"/>
                <a:gd name="connsiteX72" fmla="*/ 393700 w 3172618"/>
                <a:gd name="connsiteY72" fmla="*/ 57150 h 1365250"/>
                <a:gd name="connsiteX73" fmla="*/ 349250 w 3172618"/>
                <a:gd name="connsiteY73" fmla="*/ 15875 h 1365250"/>
                <a:gd name="connsiteX74" fmla="*/ 279400 w 3172618"/>
                <a:gd name="connsiteY74" fmla="*/ 19050 h 1365250"/>
                <a:gd name="connsiteX75" fmla="*/ 209550 w 3172618"/>
                <a:gd name="connsiteY75" fmla="*/ 111125 h 1365250"/>
                <a:gd name="connsiteX76" fmla="*/ 142875 w 3172618"/>
                <a:gd name="connsiteY76" fmla="*/ 139700 h 1365250"/>
                <a:gd name="connsiteX77" fmla="*/ 215900 w 3172618"/>
                <a:gd name="connsiteY77" fmla="*/ 190500 h 1365250"/>
                <a:gd name="connsiteX78" fmla="*/ 79375 w 3172618"/>
                <a:gd name="connsiteY78" fmla="*/ 288925 h 1365250"/>
                <a:gd name="connsiteX79" fmla="*/ 95250 w 3172618"/>
                <a:gd name="connsiteY79" fmla="*/ 387350 h 1365250"/>
                <a:gd name="connsiteX80" fmla="*/ 0 w 3172618"/>
                <a:gd name="connsiteY80" fmla="*/ 431800 h 1365250"/>
                <a:gd name="connsiteX81" fmla="*/ 12700 w 3172618"/>
                <a:gd name="connsiteY81" fmla="*/ 628650 h 1365250"/>
                <a:gd name="connsiteX82" fmla="*/ 98425 w 3172618"/>
                <a:gd name="connsiteY82" fmla="*/ 628650 h 1365250"/>
                <a:gd name="connsiteX83" fmla="*/ 98425 w 3172618"/>
                <a:gd name="connsiteY83" fmla="*/ 676275 h 1365250"/>
                <a:gd name="connsiteX84" fmla="*/ 152400 w 3172618"/>
                <a:gd name="connsiteY84" fmla="*/ 733425 h 1365250"/>
                <a:gd name="connsiteX85" fmla="*/ 158750 w 3172618"/>
                <a:gd name="connsiteY85" fmla="*/ 835025 h 1365250"/>
                <a:gd name="connsiteX86" fmla="*/ 247650 w 3172618"/>
                <a:gd name="connsiteY86" fmla="*/ 889000 h 1365250"/>
                <a:gd name="connsiteX87" fmla="*/ 190500 w 3172618"/>
                <a:gd name="connsiteY87" fmla="*/ 968375 h 1365250"/>
                <a:gd name="connsiteX88" fmla="*/ 190500 w 3172618"/>
                <a:gd name="connsiteY88" fmla="*/ 1139825 h 1365250"/>
                <a:gd name="connsiteX89" fmla="*/ 282575 w 3172618"/>
                <a:gd name="connsiteY89" fmla="*/ 1184275 h 1365250"/>
                <a:gd name="connsiteX90" fmla="*/ 339725 w 3172618"/>
                <a:gd name="connsiteY90" fmla="*/ 1130300 h 1365250"/>
                <a:gd name="connsiteX91" fmla="*/ 460375 w 3172618"/>
                <a:gd name="connsiteY91" fmla="*/ 113665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172618" h="1365250">
                  <a:moveTo>
                    <a:pt x="460375" y="1136650"/>
                  </a:moveTo>
                  <a:lnTo>
                    <a:pt x="460375" y="1136650"/>
                  </a:lnTo>
                  <a:cubicBezTo>
                    <a:pt x="468313" y="1128183"/>
                    <a:pt x="496888" y="1098550"/>
                    <a:pt x="508000" y="1085850"/>
                  </a:cubicBezTo>
                  <a:cubicBezTo>
                    <a:pt x="519112" y="1073150"/>
                    <a:pt x="515304" y="1072196"/>
                    <a:pt x="527050" y="1060450"/>
                  </a:cubicBezTo>
                  <a:lnTo>
                    <a:pt x="534987" y="1001712"/>
                  </a:lnTo>
                  <a:lnTo>
                    <a:pt x="720725" y="955675"/>
                  </a:lnTo>
                  <a:lnTo>
                    <a:pt x="890588" y="920750"/>
                  </a:lnTo>
                  <a:lnTo>
                    <a:pt x="1092200" y="966788"/>
                  </a:lnTo>
                  <a:lnTo>
                    <a:pt x="1174750" y="1019175"/>
                  </a:lnTo>
                  <a:lnTo>
                    <a:pt x="1265238" y="1011237"/>
                  </a:lnTo>
                  <a:lnTo>
                    <a:pt x="1407319" y="1073150"/>
                  </a:lnTo>
                  <a:lnTo>
                    <a:pt x="1500187" y="999331"/>
                  </a:lnTo>
                  <a:lnTo>
                    <a:pt x="1627187" y="1013618"/>
                  </a:lnTo>
                  <a:lnTo>
                    <a:pt x="1701006" y="917575"/>
                  </a:lnTo>
                  <a:lnTo>
                    <a:pt x="1875631" y="897731"/>
                  </a:lnTo>
                  <a:lnTo>
                    <a:pt x="1952625" y="959644"/>
                  </a:lnTo>
                  <a:lnTo>
                    <a:pt x="2032000" y="1022350"/>
                  </a:lnTo>
                  <a:lnTo>
                    <a:pt x="2114550" y="1016000"/>
                  </a:lnTo>
                  <a:lnTo>
                    <a:pt x="2184400" y="1222375"/>
                  </a:lnTo>
                  <a:lnTo>
                    <a:pt x="2275681" y="1332706"/>
                  </a:lnTo>
                  <a:lnTo>
                    <a:pt x="2362200" y="1365250"/>
                  </a:lnTo>
                  <a:lnTo>
                    <a:pt x="2441575" y="1349375"/>
                  </a:lnTo>
                  <a:lnTo>
                    <a:pt x="2620169" y="1248569"/>
                  </a:lnTo>
                  <a:lnTo>
                    <a:pt x="2705100" y="1260475"/>
                  </a:lnTo>
                  <a:lnTo>
                    <a:pt x="2867025" y="1244600"/>
                  </a:lnTo>
                  <a:lnTo>
                    <a:pt x="2896394" y="1100137"/>
                  </a:lnTo>
                  <a:lnTo>
                    <a:pt x="2876550" y="1016000"/>
                  </a:lnTo>
                  <a:lnTo>
                    <a:pt x="2921000" y="936625"/>
                  </a:lnTo>
                  <a:lnTo>
                    <a:pt x="2889250" y="771525"/>
                  </a:lnTo>
                  <a:lnTo>
                    <a:pt x="2974975" y="704850"/>
                  </a:lnTo>
                  <a:lnTo>
                    <a:pt x="3032918" y="605631"/>
                  </a:lnTo>
                  <a:lnTo>
                    <a:pt x="3127375" y="549275"/>
                  </a:lnTo>
                  <a:lnTo>
                    <a:pt x="3129757" y="371475"/>
                  </a:lnTo>
                  <a:lnTo>
                    <a:pt x="3172618" y="323850"/>
                  </a:lnTo>
                  <a:cubicBezTo>
                    <a:pt x="3171560" y="269875"/>
                    <a:pt x="3163358" y="196850"/>
                    <a:pt x="3162300" y="142875"/>
                  </a:cubicBezTo>
                  <a:lnTo>
                    <a:pt x="2924175" y="168275"/>
                  </a:lnTo>
                  <a:lnTo>
                    <a:pt x="2857500" y="34925"/>
                  </a:lnTo>
                  <a:lnTo>
                    <a:pt x="2740025" y="168275"/>
                  </a:lnTo>
                  <a:lnTo>
                    <a:pt x="2746375" y="234950"/>
                  </a:lnTo>
                  <a:lnTo>
                    <a:pt x="2546350" y="234950"/>
                  </a:lnTo>
                  <a:lnTo>
                    <a:pt x="2371725" y="155575"/>
                  </a:lnTo>
                  <a:lnTo>
                    <a:pt x="2254250" y="130175"/>
                  </a:lnTo>
                  <a:lnTo>
                    <a:pt x="2276475" y="203200"/>
                  </a:lnTo>
                  <a:lnTo>
                    <a:pt x="2241550" y="276225"/>
                  </a:lnTo>
                  <a:lnTo>
                    <a:pt x="2308225" y="384175"/>
                  </a:lnTo>
                  <a:lnTo>
                    <a:pt x="2111375" y="450850"/>
                  </a:lnTo>
                  <a:lnTo>
                    <a:pt x="2047875" y="406400"/>
                  </a:lnTo>
                  <a:lnTo>
                    <a:pt x="1908175" y="374650"/>
                  </a:lnTo>
                  <a:lnTo>
                    <a:pt x="1892300" y="288925"/>
                  </a:lnTo>
                  <a:lnTo>
                    <a:pt x="1819275" y="206375"/>
                  </a:lnTo>
                  <a:lnTo>
                    <a:pt x="1730375" y="193675"/>
                  </a:lnTo>
                  <a:lnTo>
                    <a:pt x="1676400" y="219075"/>
                  </a:lnTo>
                  <a:lnTo>
                    <a:pt x="1704975" y="304800"/>
                  </a:lnTo>
                  <a:lnTo>
                    <a:pt x="1606550" y="295275"/>
                  </a:lnTo>
                  <a:lnTo>
                    <a:pt x="1587500" y="346075"/>
                  </a:lnTo>
                  <a:lnTo>
                    <a:pt x="1485900" y="311150"/>
                  </a:lnTo>
                  <a:lnTo>
                    <a:pt x="1501775" y="241300"/>
                  </a:lnTo>
                  <a:lnTo>
                    <a:pt x="1447800" y="219075"/>
                  </a:lnTo>
                  <a:lnTo>
                    <a:pt x="1409700" y="238125"/>
                  </a:lnTo>
                  <a:lnTo>
                    <a:pt x="1371600" y="196850"/>
                  </a:lnTo>
                  <a:lnTo>
                    <a:pt x="1314450" y="215900"/>
                  </a:lnTo>
                  <a:lnTo>
                    <a:pt x="1244600" y="180975"/>
                  </a:lnTo>
                  <a:lnTo>
                    <a:pt x="1184275" y="203200"/>
                  </a:lnTo>
                  <a:lnTo>
                    <a:pt x="1133475" y="79375"/>
                  </a:lnTo>
                  <a:lnTo>
                    <a:pt x="981075" y="76200"/>
                  </a:lnTo>
                  <a:lnTo>
                    <a:pt x="825500" y="0"/>
                  </a:lnTo>
                  <a:lnTo>
                    <a:pt x="819150" y="66675"/>
                  </a:lnTo>
                  <a:lnTo>
                    <a:pt x="714375" y="34925"/>
                  </a:lnTo>
                  <a:lnTo>
                    <a:pt x="638175" y="136525"/>
                  </a:lnTo>
                  <a:lnTo>
                    <a:pt x="577850" y="66675"/>
                  </a:lnTo>
                  <a:lnTo>
                    <a:pt x="485775" y="57150"/>
                  </a:lnTo>
                  <a:lnTo>
                    <a:pt x="447675" y="0"/>
                  </a:lnTo>
                  <a:lnTo>
                    <a:pt x="393700" y="57150"/>
                  </a:lnTo>
                  <a:lnTo>
                    <a:pt x="349250" y="15875"/>
                  </a:lnTo>
                  <a:lnTo>
                    <a:pt x="279400" y="19050"/>
                  </a:lnTo>
                  <a:lnTo>
                    <a:pt x="209550" y="111125"/>
                  </a:lnTo>
                  <a:lnTo>
                    <a:pt x="142875" y="139700"/>
                  </a:lnTo>
                  <a:lnTo>
                    <a:pt x="215900" y="190500"/>
                  </a:lnTo>
                  <a:lnTo>
                    <a:pt x="79375" y="288925"/>
                  </a:lnTo>
                  <a:lnTo>
                    <a:pt x="95250" y="387350"/>
                  </a:lnTo>
                  <a:lnTo>
                    <a:pt x="0" y="431800"/>
                  </a:lnTo>
                  <a:lnTo>
                    <a:pt x="12700" y="628650"/>
                  </a:lnTo>
                  <a:lnTo>
                    <a:pt x="98425" y="628650"/>
                  </a:lnTo>
                  <a:lnTo>
                    <a:pt x="98425" y="676275"/>
                  </a:lnTo>
                  <a:lnTo>
                    <a:pt x="152400" y="733425"/>
                  </a:lnTo>
                  <a:lnTo>
                    <a:pt x="158750" y="835025"/>
                  </a:lnTo>
                  <a:lnTo>
                    <a:pt x="247650" y="889000"/>
                  </a:lnTo>
                  <a:lnTo>
                    <a:pt x="190500" y="968375"/>
                  </a:lnTo>
                  <a:lnTo>
                    <a:pt x="190500" y="1139825"/>
                  </a:lnTo>
                  <a:lnTo>
                    <a:pt x="282575" y="1184275"/>
                  </a:lnTo>
                  <a:lnTo>
                    <a:pt x="339725" y="1130300"/>
                  </a:lnTo>
                  <a:lnTo>
                    <a:pt x="460375" y="113665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Voľná forma 25">
              <a:extLst>
                <a:ext uri="{FF2B5EF4-FFF2-40B4-BE49-F238E27FC236}">
                  <a16:creationId xmlns:a16="http://schemas.microsoft.com/office/drawing/2014/main" id="{3FDEFA77-F27B-4B36-8100-67B8AB964338}"/>
                </a:ext>
              </a:extLst>
            </p:cNvPr>
            <p:cNvSpPr/>
            <p:nvPr/>
          </p:nvSpPr>
          <p:spPr>
            <a:xfrm>
              <a:off x="4699098" y="1415731"/>
              <a:ext cx="3844717" cy="1489872"/>
            </a:xfrm>
            <a:custGeom>
              <a:avLst/>
              <a:gdLst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69927 w 3844717"/>
                <a:gd name="connsiteY30" fmla="*/ 243605 h 1489872"/>
                <a:gd name="connsiteX31" fmla="*/ 1606378 w 3844717"/>
                <a:gd name="connsiteY31" fmla="*/ 328337 h 1489872"/>
                <a:gd name="connsiteX32" fmla="*/ 1532238 w 3844717"/>
                <a:gd name="connsiteY32" fmla="*/ 402477 h 1489872"/>
                <a:gd name="connsiteX33" fmla="*/ 1465158 w 3844717"/>
                <a:gd name="connsiteY33" fmla="*/ 367172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89779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69927 w 3844717"/>
                <a:gd name="connsiteY30" fmla="*/ 243605 h 1489872"/>
                <a:gd name="connsiteX31" fmla="*/ 1588725 w 3844717"/>
                <a:gd name="connsiteY31" fmla="*/ 310685 h 1489872"/>
                <a:gd name="connsiteX32" fmla="*/ 1532238 w 3844717"/>
                <a:gd name="connsiteY32" fmla="*/ 402477 h 1489872"/>
                <a:gd name="connsiteX33" fmla="*/ 1465158 w 3844717"/>
                <a:gd name="connsiteY33" fmla="*/ 367172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89779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55805 w 3844717"/>
                <a:gd name="connsiteY30" fmla="*/ 225953 h 1489872"/>
                <a:gd name="connsiteX31" fmla="*/ 1588725 w 3844717"/>
                <a:gd name="connsiteY31" fmla="*/ 310685 h 1489872"/>
                <a:gd name="connsiteX32" fmla="*/ 1532238 w 3844717"/>
                <a:gd name="connsiteY32" fmla="*/ 402477 h 1489872"/>
                <a:gd name="connsiteX33" fmla="*/ 1465158 w 3844717"/>
                <a:gd name="connsiteY33" fmla="*/ 367172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89779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55805 w 3844717"/>
                <a:gd name="connsiteY30" fmla="*/ 225953 h 1489872"/>
                <a:gd name="connsiteX31" fmla="*/ 1588725 w 3844717"/>
                <a:gd name="connsiteY31" fmla="*/ 310685 h 1489872"/>
                <a:gd name="connsiteX32" fmla="*/ 1532238 w 3844717"/>
                <a:gd name="connsiteY32" fmla="*/ 402477 h 1489872"/>
                <a:gd name="connsiteX33" fmla="*/ 1479280 w 3844717"/>
                <a:gd name="connsiteY33" fmla="*/ 360111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89779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55805 w 3844717"/>
                <a:gd name="connsiteY30" fmla="*/ 225953 h 1489872"/>
                <a:gd name="connsiteX31" fmla="*/ 1588725 w 3844717"/>
                <a:gd name="connsiteY31" fmla="*/ 310685 h 1489872"/>
                <a:gd name="connsiteX32" fmla="*/ 1532238 w 3844717"/>
                <a:gd name="connsiteY32" fmla="*/ 381294 h 1489872"/>
                <a:gd name="connsiteX33" fmla="*/ 1479280 w 3844717"/>
                <a:gd name="connsiteY33" fmla="*/ 360111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89779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55805 w 3844717"/>
                <a:gd name="connsiteY30" fmla="*/ 225953 h 1489872"/>
                <a:gd name="connsiteX31" fmla="*/ 1588725 w 3844717"/>
                <a:gd name="connsiteY31" fmla="*/ 310685 h 1489872"/>
                <a:gd name="connsiteX32" fmla="*/ 1532238 w 3844717"/>
                <a:gd name="connsiteY32" fmla="*/ 381294 h 1489872"/>
                <a:gd name="connsiteX33" fmla="*/ 1479280 w 3844717"/>
                <a:gd name="connsiteY33" fmla="*/ 360111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1535 h 1489872"/>
                <a:gd name="connsiteX109" fmla="*/ 2845585 w 3844717"/>
                <a:gd name="connsiteY109" fmla="*/ 1199304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99966 w 3844717"/>
                <a:gd name="connsiteY1" fmla="*/ 1133291 h 1489872"/>
                <a:gd name="connsiteX2" fmla="*/ 3668192 w 3844717"/>
                <a:gd name="connsiteY2" fmla="*/ 1045029 h 1489872"/>
                <a:gd name="connsiteX3" fmla="*/ 3714088 w 3844717"/>
                <a:gd name="connsiteY3" fmla="*/ 1002663 h 1489872"/>
                <a:gd name="connsiteX4" fmla="*/ 3714088 w 3844717"/>
                <a:gd name="connsiteY4" fmla="*/ 935583 h 1489872"/>
                <a:gd name="connsiteX5" fmla="*/ 3805881 w 3844717"/>
                <a:gd name="connsiteY5" fmla="*/ 924992 h 1489872"/>
                <a:gd name="connsiteX6" fmla="*/ 3844717 w 3844717"/>
                <a:gd name="connsiteY6" fmla="*/ 854382 h 1489872"/>
                <a:gd name="connsiteX7" fmla="*/ 3816473 w 3844717"/>
                <a:gd name="connsiteY7" fmla="*/ 706101 h 1489872"/>
                <a:gd name="connsiteX8" fmla="*/ 3657600 w 3844717"/>
                <a:gd name="connsiteY8" fmla="*/ 716692 h 1489872"/>
                <a:gd name="connsiteX9" fmla="*/ 3541094 w 3844717"/>
                <a:gd name="connsiteY9" fmla="*/ 600186 h 1489872"/>
                <a:gd name="connsiteX10" fmla="*/ 3399873 w 3844717"/>
                <a:gd name="connsiteY10" fmla="*/ 624899 h 1489872"/>
                <a:gd name="connsiteX11" fmla="*/ 3364568 w 3844717"/>
                <a:gd name="connsiteY11" fmla="*/ 536637 h 1489872"/>
                <a:gd name="connsiteX12" fmla="*/ 3096250 w 3844717"/>
                <a:gd name="connsiteY12" fmla="*/ 494271 h 1489872"/>
                <a:gd name="connsiteX13" fmla="*/ 3064476 w 3844717"/>
                <a:gd name="connsiteY13" fmla="*/ 356581 h 1489872"/>
                <a:gd name="connsiteX14" fmla="*/ 2962091 w 3844717"/>
                <a:gd name="connsiteY14" fmla="*/ 204769 h 1489872"/>
                <a:gd name="connsiteX15" fmla="*/ 2863237 w 3844717"/>
                <a:gd name="connsiteY15" fmla="*/ 197708 h 1489872"/>
                <a:gd name="connsiteX16" fmla="*/ 2806749 w 3844717"/>
                <a:gd name="connsiteY16" fmla="*/ 134159 h 1489872"/>
                <a:gd name="connsiteX17" fmla="*/ 2750261 w 3844717"/>
                <a:gd name="connsiteY17" fmla="*/ 127098 h 1489872"/>
                <a:gd name="connsiteX18" fmla="*/ 2693773 w 3844717"/>
                <a:gd name="connsiteY18" fmla="*/ 201239 h 1489872"/>
                <a:gd name="connsiteX19" fmla="*/ 2598449 w 3844717"/>
                <a:gd name="connsiteY19" fmla="*/ 63549 h 1489872"/>
                <a:gd name="connsiteX20" fmla="*/ 2474882 w 3844717"/>
                <a:gd name="connsiteY20" fmla="*/ 24714 h 1489872"/>
                <a:gd name="connsiteX21" fmla="*/ 2354845 w 3844717"/>
                <a:gd name="connsiteY21" fmla="*/ 42366 h 1489872"/>
                <a:gd name="connsiteX22" fmla="*/ 2245399 w 3844717"/>
                <a:gd name="connsiteY22" fmla="*/ 102385 h 1489872"/>
                <a:gd name="connsiteX23" fmla="*/ 2026508 w 3844717"/>
                <a:gd name="connsiteY23" fmla="*/ 0 h 1489872"/>
                <a:gd name="connsiteX24" fmla="*/ 1945307 w 3844717"/>
                <a:gd name="connsiteY24" fmla="*/ 3531 h 1489872"/>
                <a:gd name="connsiteX25" fmla="*/ 1878227 w 3844717"/>
                <a:gd name="connsiteY25" fmla="*/ 141220 h 1489872"/>
                <a:gd name="connsiteX26" fmla="*/ 1779373 w 3844717"/>
                <a:gd name="connsiteY26" fmla="*/ 60019 h 1489872"/>
                <a:gd name="connsiteX27" fmla="*/ 1659336 w 3844717"/>
                <a:gd name="connsiteY27" fmla="*/ 105915 h 1489872"/>
                <a:gd name="connsiteX28" fmla="*/ 1673458 w 3844717"/>
                <a:gd name="connsiteY28" fmla="*/ 180056 h 1489872"/>
                <a:gd name="connsiteX29" fmla="*/ 1751129 w 3844717"/>
                <a:gd name="connsiteY29" fmla="*/ 204769 h 1489872"/>
                <a:gd name="connsiteX30" fmla="*/ 1655805 w 3844717"/>
                <a:gd name="connsiteY30" fmla="*/ 225953 h 1489872"/>
                <a:gd name="connsiteX31" fmla="*/ 1588725 w 3844717"/>
                <a:gd name="connsiteY31" fmla="*/ 310685 h 1489872"/>
                <a:gd name="connsiteX32" fmla="*/ 1532238 w 3844717"/>
                <a:gd name="connsiteY32" fmla="*/ 381294 h 1489872"/>
                <a:gd name="connsiteX33" fmla="*/ 1479280 w 3844717"/>
                <a:gd name="connsiteY33" fmla="*/ 360111 h 1489872"/>
                <a:gd name="connsiteX34" fmla="*/ 1443975 w 3844717"/>
                <a:gd name="connsiteY34" fmla="*/ 285971 h 1489872"/>
                <a:gd name="connsiteX35" fmla="*/ 1316877 w 3844717"/>
                <a:gd name="connsiteY35" fmla="*/ 278910 h 1489872"/>
                <a:gd name="connsiteX36" fmla="*/ 1214493 w 3844717"/>
                <a:gd name="connsiteY36" fmla="*/ 137690 h 1489872"/>
                <a:gd name="connsiteX37" fmla="*/ 1179188 w 3844717"/>
                <a:gd name="connsiteY37" fmla="*/ 134159 h 1489872"/>
                <a:gd name="connsiteX38" fmla="*/ 1108578 w 3844717"/>
                <a:gd name="connsiteY38" fmla="*/ 172995 h 1489872"/>
                <a:gd name="connsiteX39" fmla="*/ 1073273 w 3844717"/>
                <a:gd name="connsiteY39" fmla="*/ 148281 h 1489872"/>
                <a:gd name="connsiteX40" fmla="*/ 942644 w 3844717"/>
                <a:gd name="connsiteY40" fmla="*/ 225952 h 1489872"/>
                <a:gd name="connsiteX41" fmla="*/ 872034 w 3844717"/>
                <a:gd name="connsiteY41" fmla="*/ 158873 h 1489872"/>
                <a:gd name="connsiteX42" fmla="*/ 822607 w 3844717"/>
                <a:gd name="connsiteY42" fmla="*/ 155342 h 1489872"/>
                <a:gd name="connsiteX43" fmla="*/ 744936 w 3844717"/>
                <a:gd name="connsiteY43" fmla="*/ 197708 h 1489872"/>
                <a:gd name="connsiteX44" fmla="*/ 646082 w 3844717"/>
                <a:gd name="connsiteY44" fmla="*/ 187117 h 1489872"/>
                <a:gd name="connsiteX45" fmla="*/ 610777 w 3844717"/>
                <a:gd name="connsiteY45" fmla="*/ 335398 h 1489872"/>
                <a:gd name="connsiteX46" fmla="*/ 497801 w 3844717"/>
                <a:gd name="connsiteY46" fmla="*/ 335398 h 1489872"/>
                <a:gd name="connsiteX47" fmla="*/ 473087 w 3844717"/>
                <a:gd name="connsiteY47" fmla="*/ 398947 h 1489872"/>
                <a:gd name="connsiteX48" fmla="*/ 409538 w 3844717"/>
                <a:gd name="connsiteY48" fmla="*/ 384825 h 1489872"/>
                <a:gd name="connsiteX49" fmla="*/ 360111 w 3844717"/>
                <a:gd name="connsiteY49" fmla="*/ 462496 h 1489872"/>
                <a:gd name="connsiteX50" fmla="*/ 338928 w 3844717"/>
                <a:gd name="connsiteY50" fmla="*/ 688448 h 1489872"/>
                <a:gd name="connsiteX51" fmla="*/ 293032 w 3844717"/>
                <a:gd name="connsiteY51" fmla="*/ 688448 h 1489872"/>
                <a:gd name="connsiteX52" fmla="*/ 197708 w 3844717"/>
                <a:gd name="connsiteY52" fmla="*/ 607247 h 1489872"/>
                <a:gd name="connsiteX53" fmla="*/ 91793 w 3844717"/>
                <a:gd name="connsiteY53" fmla="*/ 561350 h 1489872"/>
                <a:gd name="connsiteX54" fmla="*/ 0 w 3844717"/>
                <a:gd name="connsiteY54" fmla="*/ 667265 h 1489872"/>
                <a:gd name="connsiteX55" fmla="*/ 42366 w 3844717"/>
                <a:gd name="connsiteY55" fmla="*/ 723753 h 1489872"/>
                <a:gd name="connsiteX56" fmla="*/ 21183 w 3844717"/>
                <a:gd name="connsiteY56" fmla="*/ 776711 h 1489872"/>
                <a:gd name="connsiteX57" fmla="*/ 56488 w 3844717"/>
                <a:gd name="connsiteY57" fmla="*/ 808485 h 1489872"/>
                <a:gd name="connsiteX58" fmla="*/ 95324 w 3844717"/>
                <a:gd name="connsiteY58" fmla="*/ 787302 h 1489872"/>
                <a:gd name="connsiteX59" fmla="*/ 247135 w 3844717"/>
                <a:gd name="connsiteY59" fmla="*/ 840260 h 1489872"/>
                <a:gd name="connsiteX60" fmla="*/ 222422 w 3844717"/>
                <a:gd name="connsiteY60" fmla="*/ 953236 h 1489872"/>
                <a:gd name="connsiteX61" fmla="*/ 222422 w 3844717"/>
                <a:gd name="connsiteY61" fmla="*/ 1016785 h 1489872"/>
                <a:gd name="connsiteX62" fmla="*/ 151812 w 3844717"/>
                <a:gd name="connsiteY62" fmla="*/ 1062681 h 1489872"/>
                <a:gd name="connsiteX63" fmla="*/ 215361 w 3844717"/>
                <a:gd name="connsiteY63" fmla="*/ 1097986 h 1489872"/>
                <a:gd name="connsiteX64" fmla="*/ 222422 w 3844717"/>
                <a:gd name="connsiteY64" fmla="*/ 1161535 h 1489872"/>
                <a:gd name="connsiteX65" fmla="*/ 289501 w 3844717"/>
                <a:gd name="connsiteY65" fmla="*/ 1200371 h 1489872"/>
                <a:gd name="connsiteX66" fmla="*/ 289501 w 3844717"/>
                <a:gd name="connsiteY66" fmla="*/ 1235676 h 1489872"/>
                <a:gd name="connsiteX67" fmla="*/ 172995 w 3844717"/>
                <a:gd name="connsiteY67" fmla="*/ 1278042 h 1489872"/>
                <a:gd name="connsiteX68" fmla="*/ 218891 w 3844717"/>
                <a:gd name="connsiteY68" fmla="*/ 1299225 h 1489872"/>
                <a:gd name="connsiteX69" fmla="*/ 328337 w 3844717"/>
                <a:gd name="connsiteY69" fmla="*/ 1309816 h 1489872"/>
                <a:gd name="connsiteX70" fmla="*/ 476618 w 3844717"/>
                <a:gd name="connsiteY70" fmla="*/ 1288633 h 1489872"/>
                <a:gd name="connsiteX71" fmla="*/ 543697 w 3844717"/>
                <a:gd name="connsiteY71" fmla="*/ 1323938 h 1489872"/>
                <a:gd name="connsiteX72" fmla="*/ 681387 w 3844717"/>
                <a:gd name="connsiteY72" fmla="*/ 1232145 h 1489872"/>
                <a:gd name="connsiteX73" fmla="*/ 614307 w 3844717"/>
                <a:gd name="connsiteY73" fmla="*/ 1179188 h 1489872"/>
                <a:gd name="connsiteX74" fmla="*/ 674326 w 3844717"/>
                <a:gd name="connsiteY74" fmla="*/ 1150944 h 1489872"/>
                <a:gd name="connsiteX75" fmla="*/ 744936 w 3844717"/>
                <a:gd name="connsiteY75" fmla="*/ 1062681 h 1489872"/>
                <a:gd name="connsiteX76" fmla="*/ 822607 w 3844717"/>
                <a:gd name="connsiteY76" fmla="*/ 1059151 h 1489872"/>
                <a:gd name="connsiteX77" fmla="*/ 854382 w 3844717"/>
                <a:gd name="connsiteY77" fmla="*/ 1101517 h 1489872"/>
                <a:gd name="connsiteX78" fmla="*/ 914400 w 3844717"/>
                <a:gd name="connsiteY78" fmla="*/ 1037968 h 1489872"/>
                <a:gd name="connsiteX79" fmla="*/ 953236 w 3844717"/>
                <a:gd name="connsiteY79" fmla="*/ 1097986 h 1489872"/>
                <a:gd name="connsiteX80" fmla="*/ 1041498 w 3844717"/>
                <a:gd name="connsiteY80" fmla="*/ 1108578 h 1489872"/>
                <a:gd name="connsiteX81" fmla="*/ 1101517 w 3844717"/>
                <a:gd name="connsiteY81" fmla="*/ 1172127 h 1489872"/>
                <a:gd name="connsiteX82" fmla="*/ 1182718 w 3844717"/>
                <a:gd name="connsiteY82" fmla="*/ 1076803 h 1489872"/>
                <a:gd name="connsiteX83" fmla="*/ 1285103 w 3844717"/>
                <a:gd name="connsiteY83" fmla="*/ 1101517 h 1489872"/>
                <a:gd name="connsiteX84" fmla="*/ 1292164 w 3844717"/>
                <a:gd name="connsiteY84" fmla="*/ 1037968 h 1489872"/>
                <a:gd name="connsiteX85" fmla="*/ 1451036 w 3844717"/>
                <a:gd name="connsiteY85" fmla="*/ 1119169 h 1489872"/>
                <a:gd name="connsiteX86" fmla="*/ 1595787 w 3844717"/>
                <a:gd name="connsiteY86" fmla="*/ 1115639 h 1489872"/>
                <a:gd name="connsiteX87" fmla="*/ 1652275 w 3844717"/>
                <a:gd name="connsiteY87" fmla="*/ 1242737 h 1489872"/>
                <a:gd name="connsiteX88" fmla="*/ 1708763 w 3844717"/>
                <a:gd name="connsiteY88" fmla="*/ 1218023 h 1489872"/>
                <a:gd name="connsiteX89" fmla="*/ 1779373 w 3844717"/>
                <a:gd name="connsiteY89" fmla="*/ 1260389 h 1489872"/>
                <a:gd name="connsiteX90" fmla="*/ 1842922 w 3844717"/>
                <a:gd name="connsiteY90" fmla="*/ 1239206 h 1489872"/>
                <a:gd name="connsiteX91" fmla="*/ 1878227 w 3844717"/>
                <a:gd name="connsiteY91" fmla="*/ 1281572 h 1489872"/>
                <a:gd name="connsiteX92" fmla="*/ 1913532 w 3844717"/>
                <a:gd name="connsiteY92" fmla="*/ 1260389 h 1489872"/>
                <a:gd name="connsiteX93" fmla="*/ 1962959 w 3844717"/>
                <a:gd name="connsiteY93" fmla="*/ 1281572 h 1489872"/>
                <a:gd name="connsiteX94" fmla="*/ 1955898 w 3844717"/>
                <a:gd name="connsiteY94" fmla="*/ 1352183 h 1489872"/>
                <a:gd name="connsiteX95" fmla="*/ 2047691 w 3844717"/>
                <a:gd name="connsiteY95" fmla="*/ 1383957 h 1489872"/>
                <a:gd name="connsiteX96" fmla="*/ 2072405 w 3844717"/>
                <a:gd name="connsiteY96" fmla="*/ 1338061 h 1489872"/>
                <a:gd name="connsiteX97" fmla="*/ 2171259 w 3844717"/>
                <a:gd name="connsiteY97" fmla="*/ 1345122 h 1489872"/>
                <a:gd name="connsiteX98" fmla="*/ 2143015 w 3844717"/>
                <a:gd name="connsiteY98" fmla="*/ 1256859 h 1489872"/>
                <a:gd name="connsiteX99" fmla="*/ 2192442 w 3844717"/>
                <a:gd name="connsiteY99" fmla="*/ 1235676 h 1489872"/>
                <a:gd name="connsiteX100" fmla="*/ 2284235 w 3844717"/>
                <a:gd name="connsiteY100" fmla="*/ 1242737 h 1489872"/>
                <a:gd name="connsiteX101" fmla="*/ 2361906 w 3844717"/>
                <a:gd name="connsiteY101" fmla="*/ 1331000 h 1489872"/>
                <a:gd name="connsiteX102" fmla="*/ 2372497 w 3844717"/>
                <a:gd name="connsiteY102" fmla="*/ 1415732 h 1489872"/>
                <a:gd name="connsiteX103" fmla="*/ 2510187 w 3844717"/>
                <a:gd name="connsiteY103" fmla="*/ 1443976 h 1489872"/>
                <a:gd name="connsiteX104" fmla="*/ 2573736 w 3844717"/>
                <a:gd name="connsiteY104" fmla="*/ 1489872 h 1489872"/>
                <a:gd name="connsiteX105" fmla="*/ 2771444 w 3844717"/>
                <a:gd name="connsiteY105" fmla="*/ 1426323 h 1489872"/>
                <a:gd name="connsiteX106" fmla="*/ 2711426 w 3844717"/>
                <a:gd name="connsiteY106" fmla="*/ 1323938 h 1489872"/>
                <a:gd name="connsiteX107" fmla="*/ 2743200 w 3844717"/>
                <a:gd name="connsiteY107" fmla="*/ 1246267 h 1489872"/>
                <a:gd name="connsiteX108" fmla="*/ 2718487 w 3844717"/>
                <a:gd name="connsiteY108" fmla="*/ 1163916 h 1489872"/>
                <a:gd name="connsiteX109" fmla="*/ 2845585 w 3844717"/>
                <a:gd name="connsiteY109" fmla="*/ 1199304 h 1489872"/>
                <a:gd name="connsiteX110" fmla="*/ 3018579 w 3844717"/>
                <a:gd name="connsiteY110" fmla="*/ 1274511 h 1489872"/>
                <a:gd name="connsiteX111" fmla="*/ 3209226 w 3844717"/>
                <a:gd name="connsiteY111" fmla="*/ 1278042 h 1489872"/>
                <a:gd name="connsiteX112" fmla="*/ 3202165 w 3844717"/>
                <a:gd name="connsiteY112" fmla="*/ 1214493 h 1489872"/>
                <a:gd name="connsiteX113" fmla="*/ 3322202 w 3844717"/>
                <a:gd name="connsiteY113" fmla="*/ 1073273 h 1489872"/>
                <a:gd name="connsiteX114" fmla="*/ 3389282 w 3844717"/>
                <a:gd name="connsiteY114" fmla="*/ 1207432 h 1489872"/>
                <a:gd name="connsiteX115" fmla="*/ 3622295 w 3844717"/>
                <a:gd name="connsiteY115" fmla="*/ 1189779 h 1489872"/>
                <a:gd name="connsiteX0" fmla="*/ 3622295 w 3844717"/>
                <a:gd name="connsiteY0" fmla="*/ 1189779 h 1489872"/>
                <a:gd name="connsiteX1" fmla="*/ 3642421 w 3844717"/>
                <a:gd name="connsiteY1" fmla="*/ 1167925 h 1489872"/>
                <a:gd name="connsiteX2" fmla="*/ 3699966 w 3844717"/>
                <a:gd name="connsiteY2" fmla="*/ 1133291 h 1489872"/>
                <a:gd name="connsiteX3" fmla="*/ 3668192 w 3844717"/>
                <a:gd name="connsiteY3" fmla="*/ 1045029 h 1489872"/>
                <a:gd name="connsiteX4" fmla="*/ 3714088 w 3844717"/>
                <a:gd name="connsiteY4" fmla="*/ 1002663 h 1489872"/>
                <a:gd name="connsiteX5" fmla="*/ 3714088 w 3844717"/>
                <a:gd name="connsiteY5" fmla="*/ 935583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57600 w 3844717"/>
                <a:gd name="connsiteY9" fmla="*/ 716692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68192 w 3844717"/>
                <a:gd name="connsiteY3" fmla="*/ 1045029 h 1489872"/>
                <a:gd name="connsiteX4" fmla="*/ 3714088 w 3844717"/>
                <a:gd name="connsiteY4" fmla="*/ 1002663 h 1489872"/>
                <a:gd name="connsiteX5" fmla="*/ 3714088 w 3844717"/>
                <a:gd name="connsiteY5" fmla="*/ 935583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57600 w 3844717"/>
                <a:gd name="connsiteY9" fmla="*/ 716692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14088 w 3844717"/>
                <a:gd name="connsiteY4" fmla="*/ 1002663 h 1489872"/>
                <a:gd name="connsiteX5" fmla="*/ 3714088 w 3844717"/>
                <a:gd name="connsiteY5" fmla="*/ 935583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57600 w 3844717"/>
                <a:gd name="connsiteY9" fmla="*/ 716692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14088 w 3844717"/>
                <a:gd name="connsiteY5" fmla="*/ 935583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57600 w 3844717"/>
                <a:gd name="connsiteY9" fmla="*/ 716692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57600 w 3844717"/>
                <a:gd name="connsiteY9" fmla="*/ 716692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41094 w 3844717"/>
                <a:gd name="connsiteY10" fmla="*/ 600186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399873 w 3844717"/>
                <a:gd name="connsiteY11" fmla="*/ 624899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64568 w 3844717"/>
                <a:gd name="connsiteY12" fmla="*/ 536637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096250 w 3844717"/>
                <a:gd name="connsiteY13" fmla="*/ 494271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56581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32768 h 1489872"/>
                <a:gd name="connsiteX15" fmla="*/ 2962091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32768 h 1489872"/>
                <a:gd name="connsiteX15" fmla="*/ 2978760 w 3844717"/>
                <a:gd name="connsiteY15" fmla="*/ 204769 h 1489872"/>
                <a:gd name="connsiteX16" fmla="*/ 2863237 w 3844717"/>
                <a:gd name="connsiteY16" fmla="*/ 197708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32768 h 1489872"/>
                <a:gd name="connsiteX15" fmla="*/ 2978760 w 3844717"/>
                <a:gd name="connsiteY15" fmla="*/ 204769 h 1489872"/>
                <a:gd name="connsiteX16" fmla="*/ 2870380 w 3844717"/>
                <a:gd name="connsiteY16" fmla="*/ 188183 h 1489872"/>
                <a:gd name="connsiteX17" fmla="*/ 2806749 w 3844717"/>
                <a:gd name="connsiteY17" fmla="*/ 134159 h 1489872"/>
                <a:gd name="connsiteX18" fmla="*/ 2750261 w 3844717"/>
                <a:gd name="connsiteY18" fmla="*/ 127098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32768 h 1489872"/>
                <a:gd name="connsiteX15" fmla="*/ 2978760 w 3844717"/>
                <a:gd name="connsiteY15" fmla="*/ 204769 h 1489872"/>
                <a:gd name="connsiteX16" fmla="*/ 2870380 w 3844717"/>
                <a:gd name="connsiteY16" fmla="*/ 188183 h 1489872"/>
                <a:gd name="connsiteX17" fmla="*/ 2806749 w 3844717"/>
                <a:gd name="connsiteY17" fmla="*/ 134159 h 1489872"/>
                <a:gd name="connsiteX18" fmla="*/ 2738355 w 3844717"/>
                <a:gd name="connsiteY18" fmla="*/ 122335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  <a:gd name="connsiteX0" fmla="*/ 3622295 w 3844717"/>
                <a:gd name="connsiteY0" fmla="*/ 1189779 h 1489872"/>
                <a:gd name="connsiteX1" fmla="*/ 3680521 w 3844717"/>
                <a:gd name="connsiteY1" fmla="*/ 1184594 h 1489872"/>
                <a:gd name="connsiteX2" fmla="*/ 3699966 w 3844717"/>
                <a:gd name="connsiteY2" fmla="*/ 1133291 h 1489872"/>
                <a:gd name="connsiteX3" fmla="*/ 3696767 w 3844717"/>
                <a:gd name="connsiteY3" fmla="*/ 1059316 h 1489872"/>
                <a:gd name="connsiteX4" fmla="*/ 3733138 w 3844717"/>
                <a:gd name="connsiteY4" fmla="*/ 1007426 h 1489872"/>
                <a:gd name="connsiteX5" fmla="*/ 3735519 w 3844717"/>
                <a:gd name="connsiteY5" fmla="*/ 957014 h 1489872"/>
                <a:gd name="connsiteX6" fmla="*/ 3805881 w 3844717"/>
                <a:gd name="connsiteY6" fmla="*/ 924992 h 1489872"/>
                <a:gd name="connsiteX7" fmla="*/ 3844717 w 3844717"/>
                <a:gd name="connsiteY7" fmla="*/ 854382 h 1489872"/>
                <a:gd name="connsiteX8" fmla="*/ 3816473 w 3844717"/>
                <a:gd name="connsiteY8" fmla="*/ 706101 h 1489872"/>
                <a:gd name="connsiteX9" fmla="*/ 3662363 w 3844717"/>
                <a:gd name="connsiteY9" fmla="*/ 702405 h 1489872"/>
                <a:gd name="connsiteX10" fmla="*/ 3550619 w 3844717"/>
                <a:gd name="connsiteY10" fmla="*/ 590661 h 1489872"/>
                <a:gd name="connsiteX11" fmla="*/ 3414161 w 3844717"/>
                <a:gd name="connsiteY11" fmla="*/ 610612 h 1489872"/>
                <a:gd name="connsiteX12" fmla="*/ 3374093 w 3844717"/>
                <a:gd name="connsiteY12" fmla="*/ 519968 h 1489872"/>
                <a:gd name="connsiteX13" fmla="*/ 3103394 w 3844717"/>
                <a:gd name="connsiteY13" fmla="*/ 479983 h 1489872"/>
                <a:gd name="connsiteX14" fmla="*/ 3064476 w 3844717"/>
                <a:gd name="connsiteY14" fmla="*/ 332768 h 1489872"/>
                <a:gd name="connsiteX15" fmla="*/ 2978760 w 3844717"/>
                <a:gd name="connsiteY15" fmla="*/ 204769 h 1489872"/>
                <a:gd name="connsiteX16" fmla="*/ 2870380 w 3844717"/>
                <a:gd name="connsiteY16" fmla="*/ 188183 h 1489872"/>
                <a:gd name="connsiteX17" fmla="*/ 2806749 w 3844717"/>
                <a:gd name="connsiteY17" fmla="*/ 124634 h 1489872"/>
                <a:gd name="connsiteX18" fmla="*/ 2738355 w 3844717"/>
                <a:gd name="connsiteY18" fmla="*/ 122335 h 1489872"/>
                <a:gd name="connsiteX19" fmla="*/ 2693773 w 3844717"/>
                <a:gd name="connsiteY19" fmla="*/ 201239 h 1489872"/>
                <a:gd name="connsiteX20" fmla="*/ 2598449 w 3844717"/>
                <a:gd name="connsiteY20" fmla="*/ 63549 h 1489872"/>
                <a:gd name="connsiteX21" fmla="*/ 2474882 w 3844717"/>
                <a:gd name="connsiteY21" fmla="*/ 24714 h 1489872"/>
                <a:gd name="connsiteX22" fmla="*/ 2354845 w 3844717"/>
                <a:gd name="connsiteY22" fmla="*/ 42366 h 1489872"/>
                <a:gd name="connsiteX23" fmla="*/ 2245399 w 3844717"/>
                <a:gd name="connsiteY23" fmla="*/ 102385 h 1489872"/>
                <a:gd name="connsiteX24" fmla="*/ 2026508 w 3844717"/>
                <a:gd name="connsiteY24" fmla="*/ 0 h 1489872"/>
                <a:gd name="connsiteX25" fmla="*/ 1945307 w 3844717"/>
                <a:gd name="connsiteY25" fmla="*/ 3531 h 1489872"/>
                <a:gd name="connsiteX26" fmla="*/ 1878227 w 3844717"/>
                <a:gd name="connsiteY26" fmla="*/ 141220 h 1489872"/>
                <a:gd name="connsiteX27" fmla="*/ 1779373 w 3844717"/>
                <a:gd name="connsiteY27" fmla="*/ 60019 h 1489872"/>
                <a:gd name="connsiteX28" fmla="*/ 1659336 w 3844717"/>
                <a:gd name="connsiteY28" fmla="*/ 105915 h 1489872"/>
                <a:gd name="connsiteX29" fmla="*/ 1673458 w 3844717"/>
                <a:gd name="connsiteY29" fmla="*/ 180056 h 1489872"/>
                <a:gd name="connsiteX30" fmla="*/ 1751129 w 3844717"/>
                <a:gd name="connsiteY30" fmla="*/ 204769 h 1489872"/>
                <a:gd name="connsiteX31" fmla="*/ 1655805 w 3844717"/>
                <a:gd name="connsiteY31" fmla="*/ 225953 h 1489872"/>
                <a:gd name="connsiteX32" fmla="*/ 1588725 w 3844717"/>
                <a:gd name="connsiteY32" fmla="*/ 310685 h 1489872"/>
                <a:gd name="connsiteX33" fmla="*/ 1532238 w 3844717"/>
                <a:gd name="connsiteY33" fmla="*/ 381294 h 1489872"/>
                <a:gd name="connsiteX34" fmla="*/ 1479280 w 3844717"/>
                <a:gd name="connsiteY34" fmla="*/ 360111 h 1489872"/>
                <a:gd name="connsiteX35" fmla="*/ 1443975 w 3844717"/>
                <a:gd name="connsiteY35" fmla="*/ 285971 h 1489872"/>
                <a:gd name="connsiteX36" fmla="*/ 1316877 w 3844717"/>
                <a:gd name="connsiteY36" fmla="*/ 278910 h 1489872"/>
                <a:gd name="connsiteX37" fmla="*/ 1214493 w 3844717"/>
                <a:gd name="connsiteY37" fmla="*/ 137690 h 1489872"/>
                <a:gd name="connsiteX38" fmla="*/ 1179188 w 3844717"/>
                <a:gd name="connsiteY38" fmla="*/ 134159 h 1489872"/>
                <a:gd name="connsiteX39" fmla="*/ 1108578 w 3844717"/>
                <a:gd name="connsiteY39" fmla="*/ 172995 h 1489872"/>
                <a:gd name="connsiteX40" fmla="*/ 1073273 w 3844717"/>
                <a:gd name="connsiteY40" fmla="*/ 148281 h 1489872"/>
                <a:gd name="connsiteX41" fmla="*/ 942644 w 3844717"/>
                <a:gd name="connsiteY41" fmla="*/ 225952 h 1489872"/>
                <a:gd name="connsiteX42" fmla="*/ 872034 w 3844717"/>
                <a:gd name="connsiteY42" fmla="*/ 158873 h 1489872"/>
                <a:gd name="connsiteX43" fmla="*/ 822607 w 3844717"/>
                <a:gd name="connsiteY43" fmla="*/ 155342 h 1489872"/>
                <a:gd name="connsiteX44" fmla="*/ 744936 w 3844717"/>
                <a:gd name="connsiteY44" fmla="*/ 197708 h 1489872"/>
                <a:gd name="connsiteX45" fmla="*/ 646082 w 3844717"/>
                <a:gd name="connsiteY45" fmla="*/ 187117 h 1489872"/>
                <a:gd name="connsiteX46" fmla="*/ 610777 w 3844717"/>
                <a:gd name="connsiteY46" fmla="*/ 335398 h 1489872"/>
                <a:gd name="connsiteX47" fmla="*/ 497801 w 3844717"/>
                <a:gd name="connsiteY47" fmla="*/ 335398 h 1489872"/>
                <a:gd name="connsiteX48" fmla="*/ 473087 w 3844717"/>
                <a:gd name="connsiteY48" fmla="*/ 398947 h 1489872"/>
                <a:gd name="connsiteX49" fmla="*/ 409538 w 3844717"/>
                <a:gd name="connsiteY49" fmla="*/ 384825 h 1489872"/>
                <a:gd name="connsiteX50" fmla="*/ 360111 w 3844717"/>
                <a:gd name="connsiteY50" fmla="*/ 462496 h 1489872"/>
                <a:gd name="connsiteX51" fmla="*/ 338928 w 3844717"/>
                <a:gd name="connsiteY51" fmla="*/ 688448 h 1489872"/>
                <a:gd name="connsiteX52" fmla="*/ 293032 w 3844717"/>
                <a:gd name="connsiteY52" fmla="*/ 688448 h 1489872"/>
                <a:gd name="connsiteX53" fmla="*/ 197708 w 3844717"/>
                <a:gd name="connsiteY53" fmla="*/ 607247 h 1489872"/>
                <a:gd name="connsiteX54" fmla="*/ 91793 w 3844717"/>
                <a:gd name="connsiteY54" fmla="*/ 561350 h 1489872"/>
                <a:gd name="connsiteX55" fmla="*/ 0 w 3844717"/>
                <a:gd name="connsiteY55" fmla="*/ 667265 h 1489872"/>
                <a:gd name="connsiteX56" fmla="*/ 42366 w 3844717"/>
                <a:gd name="connsiteY56" fmla="*/ 723753 h 1489872"/>
                <a:gd name="connsiteX57" fmla="*/ 21183 w 3844717"/>
                <a:gd name="connsiteY57" fmla="*/ 776711 h 1489872"/>
                <a:gd name="connsiteX58" fmla="*/ 56488 w 3844717"/>
                <a:gd name="connsiteY58" fmla="*/ 808485 h 1489872"/>
                <a:gd name="connsiteX59" fmla="*/ 95324 w 3844717"/>
                <a:gd name="connsiteY59" fmla="*/ 787302 h 1489872"/>
                <a:gd name="connsiteX60" fmla="*/ 247135 w 3844717"/>
                <a:gd name="connsiteY60" fmla="*/ 840260 h 1489872"/>
                <a:gd name="connsiteX61" fmla="*/ 222422 w 3844717"/>
                <a:gd name="connsiteY61" fmla="*/ 953236 h 1489872"/>
                <a:gd name="connsiteX62" fmla="*/ 222422 w 3844717"/>
                <a:gd name="connsiteY62" fmla="*/ 1016785 h 1489872"/>
                <a:gd name="connsiteX63" fmla="*/ 151812 w 3844717"/>
                <a:gd name="connsiteY63" fmla="*/ 1062681 h 1489872"/>
                <a:gd name="connsiteX64" fmla="*/ 215361 w 3844717"/>
                <a:gd name="connsiteY64" fmla="*/ 1097986 h 1489872"/>
                <a:gd name="connsiteX65" fmla="*/ 222422 w 3844717"/>
                <a:gd name="connsiteY65" fmla="*/ 1161535 h 1489872"/>
                <a:gd name="connsiteX66" fmla="*/ 289501 w 3844717"/>
                <a:gd name="connsiteY66" fmla="*/ 1200371 h 1489872"/>
                <a:gd name="connsiteX67" fmla="*/ 289501 w 3844717"/>
                <a:gd name="connsiteY67" fmla="*/ 1235676 h 1489872"/>
                <a:gd name="connsiteX68" fmla="*/ 172995 w 3844717"/>
                <a:gd name="connsiteY68" fmla="*/ 1278042 h 1489872"/>
                <a:gd name="connsiteX69" fmla="*/ 218891 w 3844717"/>
                <a:gd name="connsiteY69" fmla="*/ 1299225 h 1489872"/>
                <a:gd name="connsiteX70" fmla="*/ 328337 w 3844717"/>
                <a:gd name="connsiteY70" fmla="*/ 1309816 h 1489872"/>
                <a:gd name="connsiteX71" fmla="*/ 476618 w 3844717"/>
                <a:gd name="connsiteY71" fmla="*/ 1288633 h 1489872"/>
                <a:gd name="connsiteX72" fmla="*/ 543697 w 3844717"/>
                <a:gd name="connsiteY72" fmla="*/ 1323938 h 1489872"/>
                <a:gd name="connsiteX73" fmla="*/ 681387 w 3844717"/>
                <a:gd name="connsiteY73" fmla="*/ 1232145 h 1489872"/>
                <a:gd name="connsiteX74" fmla="*/ 614307 w 3844717"/>
                <a:gd name="connsiteY74" fmla="*/ 1179188 h 1489872"/>
                <a:gd name="connsiteX75" fmla="*/ 674326 w 3844717"/>
                <a:gd name="connsiteY75" fmla="*/ 1150944 h 1489872"/>
                <a:gd name="connsiteX76" fmla="*/ 744936 w 3844717"/>
                <a:gd name="connsiteY76" fmla="*/ 1062681 h 1489872"/>
                <a:gd name="connsiteX77" fmla="*/ 822607 w 3844717"/>
                <a:gd name="connsiteY77" fmla="*/ 1059151 h 1489872"/>
                <a:gd name="connsiteX78" fmla="*/ 854382 w 3844717"/>
                <a:gd name="connsiteY78" fmla="*/ 1101517 h 1489872"/>
                <a:gd name="connsiteX79" fmla="*/ 914400 w 3844717"/>
                <a:gd name="connsiteY79" fmla="*/ 1037968 h 1489872"/>
                <a:gd name="connsiteX80" fmla="*/ 953236 w 3844717"/>
                <a:gd name="connsiteY80" fmla="*/ 1097986 h 1489872"/>
                <a:gd name="connsiteX81" fmla="*/ 1041498 w 3844717"/>
                <a:gd name="connsiteY81" fmla="*/ 1108578 h 1489872"/>
                <a:gd name="connsiteX82" fmla="*/ 1101517 w 3844717"/>
                <a:gd name="connsiteY82" fmla="*/ 1172127 h 1489872"/>
                <a:gd name="connsiteX83" fmla="*/ 1182718 w 3844717"/>
                <a:gd name="connsiteY83" fmla="*/ 1076803 h 1489872"/>
                <a:gd name="connsiteX84" fmla="*/ 1285103 w 3844717"/>
                <a:gd name="connsiteY84" fmla="*/ 1101517 h 1489872"/>
                <a:gd name="connsiteX85" fmla="*/ 1292164 w 3844717"/>
                <a:gd name="connsiteY85" fmla="*/ 1037968 h 1489872"/>
                <a:gd name="connsiteX86" fmla="*/ 1451036 w 3844717"/>
                <a:gd name="connsiteY86" fmla="*/ 1119169 h 1489872"/>
                <a:gd name="connsiteX87" fmla="*/ 1595787 w 3844717"/>
                <a:gd name="connsiteY87" fmla="*/ 1115639 h 1489872"/>
                <a:gd name="connsiteX88" fmla="*/ 1652275 w 3844717"/>
                <a:gd name="connsiteY88" fmla="*/ 1242737 h 1489872"/>
                <a:gd name="connsiteX89" fmla="*/ 1708763 w 3844717"/>
                <a:gd name="connsiteY89" fmla="*/ 1218023 h 1489872"/>
                <a:gd name="connsiteX90" fmla="*/ 1779373 w 3844717"/>
                <a:gd name="connsiteY90" fmla="*/ 1260389 h 1489872"/>
                <a:gd name="connsiteX91" fmla="*/ 1842922 w 3844717"/>
                <a:gd name="connsiteY91" fmla="*/ 1239206 h 1489872"/>
                <a:gd name="connsiteX92" fmla="*/ 1878227 w 3844717"/>
                <a:gd name="connsiteY92" fmla="*/ 1281572 h 1489872"/>
                <a:gd name="connsiteX93" fmla="*/ 1913532 w 3844717"/>
                <a:gd name="connsiteY93" fmla="*/ 1260389 h 1489872"/>
                <a:gd name="connsiteX94" fmla="*/ 1962959 w 3844717"/>
                <a:gd name="connsiteY94" fmla="*/ 1281572 h 1489872"/>
                <a:gd name="connsiteX95" fmla="*/ 1955898 w 3844717"/>
                <a:gd name="connsiteY95" fmla="*/ 1352183 h 1489872"/>
                <a:gd name="connsiteX96" fmla="*/ 2047691 w 3844717"/>
                <a:gd name="connsiteY96" fmla="*/ 1383957 h 1489872"/>
                <a:gd name="connsiteX97" fmla="*/ 2072405 w 3844717"/>
                <a:gd name="connsiteY97" fmla="*/ 1338061 h 1489872"/>
                <a:gd name="connsiteX98" fmla="*/ 2171259 w 3844717"/>
                <a:gd name="connsiteY98" fmla="*/ 1345122 h 1489872"/>
                <a:gd name="connsiteX99" fmla="*/ 2143015 w 3844717"/>
                <a:gd name="connsiteY99" fmla="*/ 1256859 h 1489872"/>
                <a:gd name="connsiteX100" fmla="*/ 2192442 w 3844717"/>
                <a:gd name="connsiteY100" fmla="*/ 1235676 h 1489872"/>
                <a:gd name="connsiteX101" fmla="*/ 2284235 w 3844717"/>
                <a:gd name="connsiteY101" fmla="*/ 1242737 h 1489872"/>
                <a:gd name="connsiteX102" fmla="*/ 2361906 w 3844717"/>
                <a:gd name="connsiteY102" fmla="*/ 1331000 h 1489872"/>
                <a:gd name="connsiteX103" fmla="*/ 2372497 w 3844717"/>
                <a:gd name="connsiteY103" fmla="*/ 1415732 h 1489872"/>
                <a:gd name="connsiteX104" fmla="*/ 2510187 w 3844717"/>
                <a:gd name="connsiteY104" fmla="*/ 1443976 h 1489872"/>
                <a:gd name="connsiteX105" fmla="*/ 2573736 w 3844717"/>
                <a:gd name="connsiteY105" fmla="*/ 1489872 h 1489872"/>
                <a:gd name="connsiteX106" fmla="*/ 2771444 w 3844717"/>
                <a:gd name="connsiteY106" fmla="*/ 1426323 h 1489872"/>
                <a:gd name="connsiteX107" fmla="*/ 2711426 w 3844717"/>
                <a:gd name="connsiteY107" fmla="*/ 1323938 h 1489872"/>
                <a:gd name="connsiteX108" fmla="*/ 2743200 w 3844717"/>
                <a:gd name="connsiteY108" fmla="*/ 1246267 h 1489872"/>
                <a:gd name="connsiteX109" fmla="*/ 2718487 w 3844717"/>
                <a:gd name="connsiteY109" fmla="*/ 1163916 h 1489872"/>
                <a:gd name="connsiteX110" fmla="*/ 2845585 w 3844717"/>
                <a:gd name="connsiteY110" fmla="*/ 1199304 h 1489872"/>
                <a:gd name="connsiteX111" fmla="*/ 3018579 w 3844717"/>
                <a:gd name="connsiteY111" fmla="*/ 1274511 h 1489872"/>
                <a:gd name="connsiteX112" fmla="*/ 3209226 w 3844717"/>
                <a:gd name="connsiteY112" fmla="*/ 1278042 h 1489872"/>
                <a:gd name="connsiteX113" fmla="*/ 3202165 w 3844717"/>
                <a:gd name="connsiteY113" fmla="*/ 1214493 h 1489872"/>
                <a:gd name="connsiteX114" fmla="*/ 3322202 w 3844717"/>
                <a:gd name="connsiteY114" fmla="*/ 1073273 h 1489872"/>
                <a:gd name="connsiteX115" fmla="*/ 3389282 w 3844717"/>
                <a:gd name="connsiteY115" fmla="*/ 1207432 h 1489872"/>
                <a:gd name="connsiteX116" fmla="*/ 3622295 w 3844717"/>
                <a:gd name="connsiteY116" fmla="*/ 1189779 h 148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3844717" h="1489872">
                  <a:moveTo>
                    <a:pt x="3622295" y="1189779"/>
                  </a:moveTo>
                  <a:lnTo>
                    <a:pt x="3680521" y="1184594"/>
                  </a:lnTo>
                  <a:lnTo>
                    <a:pt x="3699966" y="1133291"/>
                  </a:lnTo>
                  <a:lnTo>
                    <a:pt x="3696767" y="1059316"/>
                  </a:lnTo>
                  <a:lnTo>
                    <a:pt x="3733138" y="1007426"/>
                  </a:lnTo>
                  <a:lnTo>
                    <a:pt x="3735519" y="957014"/>
                  </a:lnTo>
                  <a:lnTo>
                    <a:pt x="3805881" y="924992"/>
                  </a:lnTo>
                  <a:lnTo>
                    <a:pt x="3844717" y="854382"/>
                  </a:lnTo>
                  <a:lnTo>
                    <a:pt x="3816473" y="706101"/>
                  </a:lnTo>
                  <a:lnTo>
                    <a:pt x="3662363" y="702405"/>
                  </a:lnTo>
                  <a:lnTo>
                    <a:pt x="3550619" y="590661"/>
                  </a:lnTo>
                  <a:lnTo>
                    <a:pt x="3414161" y="610612"/>
                  </a:lnTo>
                  <a:lnTo>
                    <a:pt x="3374093" y="519968"/>
                  </a:lnTo>
                  <a:lnTo>
                    <a:pt x="3103394" y="479983"/>
                  </a:lnTo>
                  <a:lnTo>
                    <a:pt x="3064476" y="332768"/>
                  </a:lnTo>
                  <a:lnTo>
                    <a:pt x="2978760" y="204769"/>
                  </a:lnTo>
                  <a:lnTo>
                    <a:pt x="2870380" y="188183"/>
                  </a:lnTo>
                  <a:lnTo>
                    <a:pt x="2806749" y="124634"/>
                  </a:lnTo>
                  <a:lnTo>
                    <a:pt x="2738355" y="122335"/>
                  </a:lnTo>
                  <a:lnTo>
                    <a:pt x="2693773" y="201239"/>
                  </a:lnTo>
                  <a:lnTo>
                    <a:pt x="2598449" y="63549"/>
                  </a:lnTo>
                  <a:lnTo>
                    <a:pt x="2474882" y="24714"/>
                  </a:lnTo>
                  <a:lnTo>
                    <a:pt x="2354845" y="42366"/>
                  </a:lnTo>
                  <a:lnTo>
                    <a:pt x="2245399" y="102385"/>
                  </a:lnTo>
                  <a:lnTo>
                    <a:pt x="2026508" y="0"/>
                  </a:lnTo>
                  <a:lnTo>
                    <a:pt x="1945307" y="3531"/>
                  </a:lnTo>
                  <a:lnTo>
                    <a:pt x="1878227" y="141220"/>
                  </a:lnTo>
                  <a:lnTo>
                    <a:pt x="1779373" y="60019"/>
                  </a:lnTo>
                  <a:lnTo>
                    <a:pt x="1659336" y="105915"/>
                  </a:lnTo>
                  <a:lnTo>
                    <a:pt x="1673458" y="180056"/>
                  </a:lnTo>
                  <a:lnTo>
                    <a:pt x="1751129" y="204769"/>
                  </a:lnTo>
                  <a:lnTo>
                    <a:pt x="1655805" y="225953"/>
                  </a:lnTo>
                  <a:lnTo>
                    <a:pt x="1588725" y="310685"/>
                  </a:lnTo>
                  <a:lnTo>
                    <a:pt x="1532238" y="381294"/>
                  </a:lnTo>
                  <a:lnTo>
                    <a:pt x="1479280" y="360111"/>
                  </a:lnTo>
                  <a:lnTo>
                    <a:pt x="1443975" y="285971"/>
                  </a:lnTo>
                  <a:lnTo>
                    <a:pt x="1316877" y="278910"/>
                  </a:lnTo>
                  <a:lnTo>
                    <a:pt x="1214493" y="137690"/>
                  </a:lnTo>
                  <a:lnTo>
                    <a:pt x="1179188" y="134159"/>
                  </a:lnTo>
                  <a:lnTo>
                    <a:pt x="1108578" y="172995"/>
                  </a:lnTo>
                  <a:lnTo>
                    <a:pt x="1073273" y="148281"/>
                  </a:lnTo>
                  <a:lnTo>
                    <a:pt x="942644" y="225952"/>
                  </a:lnTo>
                  <a:lnTo>
                    <a:pt x="872034" y="158873"/>
                  </a:lnTo>
                  <a:lnTo>
                    <a:pt x="822607" y="155342"/>
                  </a:lnTo>
                  <a:lnTo>
                    <a:pt x="744936" y="197708"/>
                  </a:lnTo>
                  <a:lnTo>
                    <a:pt x="646082" y="187117"/>
                  </a:lnTo>
                  <a:lnTo>
                    <a:pt x="610777" y="335398"/>
                  </a:lnTo>
                  <a:lnTo>
                    <a:pt x="497801" y="335398"/>
                  </a:lnTo>
                  <a:lnTo>
                    <a:pt x="473087" y="398947"/>
                  </a:lnTo>
                  <a:lnTo>
                    <a:pt x="409538" y="384825"/>
                  </a:lnTo>
                  <a:lnTo>
                    <a:pt x="360111" y="462496"/>
                  </a:lnTo>
                  <a:lnTo>
                    <a:pt x="338928" y="688448"/>
                  </a:lnTo>
                  <a:lnTo>
                    <a:pt x="293032" y="688448"/>
                  </a:lnTo>
                  <a:lnTo>
                    <a:pt x="197708" y="607247"/>
                  </a:lnTo>
                  <a:lnTo>
                    <a:pt x="91793" y="561350"/>
                  </a:lnTo>
                  <a:lnTo>
                    <a:pt x="0" y="667265"/>
                  </a:lnTo>
                  <a:lnTo>
                    <a:pt x="42366" y="723753"/>
                  </a:lnTo>
                  <a:lnTo>
                    <a:pt x="21183" y="776711"/>
                  </a:lnTo>
                  <a:lnTo>
                    <a:pt x="56488" y="808485"/>
                  </a:lnTo>
                  <a:lnTo>
                    <a:pt x="95324" y="787302"/>
                  </a:lnTo>
                  <a:lnTo>
                    <a:pt x="247135" y="840260"/>
                  </a:lnTo>
                  <a:lnTo>
                    <a:pt x="222422" y="953236"/>
                  </a:lnTo>
                  <a:lnTo>
                    <a:pt x="222422" y="1016785"/>
                  </a:lnTo>
                  <a:lnTo>
                    <a:pt x="151812" y="1062681"/>
                  </a:lnTo>
                  <a:lnTo>
                    <a:pt x="215361" y="1097986"/>
                  </a:lnTo>
                  <a:lnTo>
                    <a:pt x="222422" y="1161535"/>
                  </a:lnTo>
                  <a:lnTo>
                    <a:pt x="289501" y="1200371"/>
                  </a:lnTo>
                  <a:lnTo>
                    <a:pt x="289501" y="1235676"/>
                  </a:lnTo>
                  <a:lnTo>
                    <a:pt x="172995" y="1278042"/>
                  </a:lnTo>
                  <a:lnTo>
                    <a:pt x="218891" y="1299225"/>
                  </a:lnTo>
                  <a:lnTo>
                    <a:pt x="328337" y="1309816"/>
                  </a:lnTo>
                  <a:lnTo>
                    <a:pt x="476618" y="1288633"/>
                  </a:lnTo>
                  <a:lnTo>
                    <a:pt x="543697" y="1323938"/>
                  </a:lnTo>
                  <a:lnTo>
                    <a:pt x="681387" y="1232145"/>
                  </a:lnTo>
                  <a:lnTo>
                    <a:pt x="614307" y="1179188"/>
                  </a:lnTo>
                  <a:lnTo>
                    <a:pt x="674326" y="1150944"/>
                  </a:lnTo>
                  <a:lnTo>
                    <a:pt x="744936" y="1062681"/>
                  </a:lnTo>
                  <a:lnTo>
                    <a:pt x="822607" y="1059151"/>
                  </a:lnTo>
                  <a:lnTo>
                    <a:pt x="854382" y="1101517"/>
                  </a:lnTo>
                  <a:lnTo>
                    <a:pt x="914400" y="1037968"/>
                  </a:lnTo>
                  <a:lnTo>
                    <a:pt x="953236" y="1097986"/>
                  </a:lnTo>
                  <a:lnTo>
                    <a:pt x="1041498" y="1108578"/>
                  </a:lnTo>
                  <a:lnTo>
                    <a:pt x="1101517" y="1172127"/>
                  </a:lnTo>
                  <a:lnTo>
                    <a:pt x="1182718" y="1076803"/>
                  </a:lnTo>
                  <a:lnTo>
                    <a:pt x="1285103" y="1101517"/>
                  </a:lnTo>
                  <a:lnTo>
                    <a:pt x="1292164" y="1037968"/>
                  </a:lnTo>
                  <a:lnTo>
                    <a:pt x="1451036" y="1119169"/>
                  </a:lnTo>
                  <a:lnTo>
                    <a:pt x="1595787" y="1115639"/>
                  </a:lnTo>
                  <a:lnTo>
                    <a:pt x="1652275" y="1242737"/>
                  </a:lnTo>
                  <a:lnTo>
                    <a:pt x="1708763" y="1218023"/>
                  </a:lnTo>
                  <a:lnTo>
                    <a:pt x="1779373" y="1260389"/>
                  </a:lnTo>
                  <a:lnTo>
                    <a:pt x="1842922" y="1239206"/>
                  </a:lnTo>
                  <a:lnTo>
                    <a:pt x="1878227" y="1281572"/>
                  </a:lnTo>
                  <a:lnTo>
                    <a:pt x="1913532" y="1260389"/>
                  </a:lnTo>
                  <a:lnTo>
                    <a:pt x="1962959" y="1281572"/>
                  </a:lnTo>
                  <a:lnTo>
                    <a:pt x="1955898" y="1352183"/>
                  </a:lnTo>
                  <a:lnTo>
                    <a:pt x="2047691" y="1383957"/>
                  </a:lnTo>
                  <a:lnTo>
                    <a:pt x="2072405" y="1338061"/>
                  </a:lnTo>
                  <a:lnTo>
                    <a:pt x="2171259" y="1345122"/>
                  </a:lnTo>
                  <a:lnTo>
                    <a:pt x="2143015" y="1256859"/>
                  </a:lnTo>
                  <a:lnTo>
                    <a:pt x="2192442" y="1235676"/>
                  </a:lnTo>
                  <a:lnTo>
                    <a:pt x="2284235" y="1242737"/>
                  </a:lnTo>
                  <a:lnTo>
                    <a:pt x="2361906" y="1331000"/>
                  </a:lnTo>
                  <a:lnTo>
                    <a:pt x="2372497" y="1415732"/>
                  </a:lnTo>
                  <a:lnTo>
                    <a:pt x="2510187" y="1443976"/>
                  </a:lnTo>
                  <a:lnTo>
                    <a:pt x="2573736" y="1489872"/>
                  </a:lnTo>
                  <a:lnTo>
                    <a:pt x="2771444" y="1426323"/>
                  </a:lnTo>
                  <a:lnTo>
                    <a:pt x="2711426" y="1323938"/>
                  </a:lnTo>
                  <a:lnTo>
                    <a:pt x="2743200" y="1246267"/>
                  </a:lnTo>
                  <a:lnTo>
                    <a:pt x="2718487" y="1163916"/>
                  </a:lnTo>
                  <a:lnTo>
                    <a:pt x="2845585" y="1199304"/>
                  </a:lnTo>
                  <a:lnTo>
                    <a:pt x="3018579" y="1274511"/>
                  </a:lnTo>
                  <a:lnTo>
                    <a:pt x="3209226" y="1278042"/>
                  </a:lnTo>
                  <a:lnTo>
                    <a:pt x="3202165" y="1214493"/>
                  </a:lnTo>
                  <a:lnTo>
                    <a:pt x="3322202" y="1073273"/>
                  </a:lnTo>
                  <a:lnTo>
                    <a:pt x="3389282" y="1207432"/>
                  </a:lnTo>
                  <a:lnTo>
                    <a:pt x="3622295" y="1189779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Voľná forma 26">
              <a:extLst>
                <a:ext uri="{FF2B5EF4-FFF2-40B4-BE49-F238E27FC236}">
                  <a16:creationId xmlns:a16="http://schemas.microsoft.com/office/drawing/2014/main" id="{2C8041E4-6AC2-43BC-AD1E-29A5BD21E99C}"/>
                </a:ext>
              </a:extLst>
            </p:cNvPr>
            <p:cNvSpPr/>
            <p:nvPr/>
          </p:nvSpPr>
          <p:spPr>
            <a:xfrm>
              <a:off x="2595563" y="1171575"/>
              <a:ext cx="2400300" cy="1909763"/>
            </a:xfrm>
            <a:custGeom>
              <a:avLst/>
              <a:gdLst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66912 w 2400300"/>
                <a:gd name="connsiteY35" fmla="*/ 82867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404937 w 2400300"/>
                <a:gd name="connsiteY50" fmla="*/ 190500 h 1909763"/>
                <a:gd name="connsiteX51" fmla="*/ 1357312 w 2400300"/>
                <a:gd name="connsiteY51" fmla="*/ 20478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2437 w 2400300"/>
                <a:gd name="connsiteY65" fmla="*/ 280988 h 1909763"/>
                <a:gd name="connsiteX66" fmla="*/ 300037 w 2400300"/>
                <a:gd name="connsiteY66" fmla="*/ 285750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404937 w 2400300"/>
                <a:gd name="connsiteY50" fmla="*/ 190500 h 1909763"/>
                <a:gd name="connsiteX51" fmla="*/ 1357312 w 2400300"/>
                <a:gd name="connsiteY51" fmla="*/ 20478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2437 w 2400300"/>
                <a:gd name="connsiteY65" fmla="*/ 280988 h 1909763"/>
                <a:gd name="connsiteX66" fmla="*/ 300037 w 2400300"/>
                <a:gd name="connsiteY66" fmla="*/ 285750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7312 w 2400300"/>
                <a:gd name="connsiteY51" fmla="*/ 20478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2437 w 2400300"/>
                <a:gd name="connsiteY65" fmla="*/ 280988 h 1909763"/>
                <a:gd name="connsiteX66" fmla="*/ 300037 w 2400300"/>
                <a:gd name="connsiteY66" fmla="*/ 285750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2437 w 2400300"/>
                <a:gd name="connsiteY65" fmla="*/ 280988 h 1909763"/>
                <a:gd name="connsiteX66" fmla="*/ 300037 w 2400300"/>
                <a:gd name="connsiteY66" fmla="*/ 285750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2437 w 2400300"/>
                <a:gd name="connsiteY65" fmla="*/ 28098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57212 w 2400300"/>
                <a:gd name="connsiteY64" fmla="*/ 319088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90550 w 2400300"/>
                <a:gd name="connsiteY63" fmla="*/ 295275 h 1909763"/>
                <a:gd name="connsiteX64" fmla="*/ 547687 w 2400300"/>
                <a:gd name="connsiteY64" fmla="*/ 303213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74675 w 2400300"/>
                <a:gd name="connsiteY63" fmla="*/ 288925 h 1909763"/>
                <a:gd name="connsiteX64" fmla="*/ 547687 w 2400300"/>
                <a:gd name="connsiteY64" fmla="*/ 303213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6700 w 2400300"/>
                <a:gd name="connsiteY78" fmla="*/ 136683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74675 w 2400300"/>
                <a:gd name="connsiteY63" fmla="*/ 288925 h 1909763"/>
                <a:gd name="connsiteX64" fmla="*/ 547687 w 2400300"/>
                <a:gd name="connsiteY64" fmla="*/ 303213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22250 w 2400300"/>
                <a:gd name="connsiteY78" fmla="*/ 1306513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74675 w 2400300"/>
                <a:gd name="connsiteY63" fmla="*/ 288925 h 1909763"/>
                <a:gd name="connsiteX64" fmla="*/ 547687 w 2400300"/>
                <a:gd name="connsiteY64" fmla="*/ 303213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76225 w 2400300"/>
                <a:gd name="connsiteY78" fmla="*/ 1373188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  <a:gd name="connsiteX0" fmla="*/ 647700 w 2400300"/>
                <a:gd name="connsiteY0" fmla="*/ 1881188 h 1909763"/>
                <a:gd name="connsiteX1" fmla="*/ 685800 w 2400300"/>
                <a:gd name="connsiteY1" fmla="*/ 1828800 h 1909763"/>
                <a:gd name="connsiteX2" fmla="*/ 776287 w 2400300"/>
                <a:gd name="connsiteY2" fmla="*/ 1909763 h 1909763"/>
                <a:gd name="connsiteX3" fmla="*/ 919162 w 2400300"/>
                <a:gd name="connsiteY3" fmla="*/ 1866900 h 1909763"/>
                <a:gd name="connsiteX4" fmla="*/ 871537 w 2400300"/>
                <a:gd name="connsiteY4" fmla="*/ 1762125 h 1909763"/>
                <a:gd name="connsiteX5" fmla="*/ 914400 w 2400300"/>
                <a:gd name="connsiteY5" fmla="*/ 1724025 h 1909763"/>
                <a:gd name="connsiteX6" fmla="*/ 871537 w 2400300"/>
                <a:gd name="connsiteY6" fmla="*/ 1671638 h 1909763"/>
                <a:gd name="connsiteX7" fmla="*/ 985837 w 2400300"/>
                <a:gd name="connsiteY7" fmla="*/ 1576388 h 1909763"/>
                <a:gd name="connsiteX8" fmla="*/ 1076325 w 2400300"/>
                <a:gd name="connsiteY8" fmla="*/ 1619250 h 1909763"/>
                <a:gd name="connsiteX9" fmla="*/ 1238250 w 2400300"/>
                <a:gd name="connsiteY9" fmla="*/ 1576388 h 1909763"/>
                <a:gd name="connsiteX10" fmla="*/ 1252537 w 2400300"/>
                <a:gd name="connsiteY10" fmla="*/ 1662113 h 1909763"/>
                <a:gd name="connsiteX11" fmla="*/ 1333500 w 2400300"/>
                <a:gd name="connsiteY11" fmla="*/ 1633538 h 1909763"/>
                <a:gd name="connsiteX12" fmla="*/ 1414462 w 2400300"/>
                <a:gd name="connsiteY12" fmla="*/ 1514475 h 1909763"/>
                <a:gd name="connsiteX13" fmla="*/ 1581150 w 2400300"/>
                <a:gd name="connsiteY13" fmla="*/ 1471613 h 1909763"/>
                <a:gd name="connsiteX14" fmla="*/ 1738312 w 2400300"/>
                <a:gd name="connsiteY14" fmla="*/ 1457325 h 1909763"/>
                <a:gd name="connsiteX15" fmla="*/ 1795462 w 2400300"/>
                <a:gd name="connsiteY15" fmla="*/ 1500188 h 1909763"/>
                <a:gd name="connsiteX16" fmla="*/ 1857375 w 2400300"/>
                <a:gd name="connsiteY16" fmla="*/ 1500188 h 1909763"/>
                <a:gd name="connsiteX17" fmla="*/ 1928812 w 2400300"/>
                <a:gd name="connsiteY17" fmla="*/ 1552575 h 1909763"/>
                <a:gd name="connsiteX18" fmla="*/ 2043112 w 2400300"/>
                <a:gd name="connsiteY18" fmla="*/ 1500188 h 1909763"/>
                <a:gd name="connsiteX19" fmla="*/ 2162175 w 2400300"/>
                <a:gd name="connsiteY19" fmla="*/ 1533525 h 1909763"/>
                <a:gd name="connsiteX20" fmla="*/ 2295525 w 2400300"/>
                <a:gd name="connsiteY20" fmla="*/ 1519238 h 1909763"/>
                <a:gd name="connsiteX21" fmla="*/ 2400300 w 2400300"/>
                <a:gd name="connsiteY21" fmla="*/ 1476375 h 1909763"/>
                <a:gd name="connsiteX22" fmla="*/ 2400300 w 2400300"/>
                <a:gd name="connsiteY22" fmla="*/ 1443038 h 1909763"/>
                <a:gd name="connsiteX23" fmla="*/ 2328862 w 2400300"/>
                <a:gd name="connsiteY23" fmla="*/ 1404938 h 1909763"/>
                <a:gd name="connsiteX24" fmla="*/ 2319337 w 2400300"/>
                <a:gd name="connsiteY24" fmla="*/ 1338263 h 1909763"/>
                <a:gd name="connsiteX25" fmla="*/ 2252662 w 2400300"/>
                <a:gd name="connsiteY25" fmla="*/ 1309688 h 1909763"/>
                <a:gd name="connsiteX26" fmla="*/ 2328862 w 2400300"/>
                <a:gd name="connsiteY26" fmla="*/ 1262063 h 1909763"/>
                <a:gd name="connsiteX27" fmla="*/ 2328862 w 2400300"/>
                <a:gd name="connsiteY27" fmla="*/ 1195388 h 1909763"/>
                <a:gd name="connsiteX28" fmla="*/ 2357437 w 2400300"/>
                <a:gd name="connsiteY28" fmla="*/ 1085850 h 1909763"/>
                <a:gd name="connsiteX29" fmla="*/ 2200275 w 2400300"/>
                <a:gd name="connsiteY29" fmla="*/ 1028700 h 1909763"/>
                <a:gd name="connsiteX30" fmla="*/ 2171700 w 2400300"/>
                <a:gd name="connsiteY30" fmla="*/ 1052513 h 1909763"/>
                <a:gd name="connsiteX31" fmla="*/ 2128837 w 2400300"/>
                <a:gd name="connsiteY31" fmla="*/ 1023938 h 1909763"/>
                <a:gd name="connsiteX32" fmla="*/ 2147887 w 2400300"/>
                <a:gd name="connsiteY32" fmla="*/ 971550 h 1909763"/>
                <a:gd name="connsiteX33" fmla="*/ 2109787 w 2400300"/>
                <a:gd name="connsiteY33" fmla="*/ 909638 h 1909763"/>
                <a:gd name="connsiteX34" fmla="*/ 1981200 w 2400300"/>
                <a:gd name="connsiteY34" fmla="*/ 885825 h 1909763"/>
                <a:gd name="connsiteX35" fmla="*/ 1982787 w 2400300"/>
                <a:gd name="connsiteY35" fmla="*/ 822325 h 1909763"/>
                <a:gd name="connsiteX36" fmla="*/ 2043112 w 2400300"/>
                <a:gd name="connsiteY36" fmla="*/ 695325 h 1909763"/>
                <a:gd name="connsiteX37" fmla="*/ 2038350 w 2400300"/>
                <a:gd name="connsiteY37" fmla="*/ 595313 h 1909763"/>
                <a:gd name="connsiteX38" fmla="*/ 2009775 w 2400300"/>
                <a:gd name="connsiteY38" fmla="*/ 442913 h 1909763"/>
                <a:gd name="connsiteX39" fmla="*/ 1962150 w 2400300"/>
                <a:gd name="connsiteY39" fmla="*/ 428625 h 1909763"/>
                <a:gd name="connsiteX40" fmla="*/ 1909762 w 2400300"/>
                <a:gd name="connsiteY40" fmla="*/ 495300 h 1909763"/>
                <a:gd name="connsiteX41" fmla="*/ 1866900 w 2400300"/>
                <a:gd name="connsiteY41" fmla="*/ 447675 h 1909763"/>
                <a:gd name="connsiteX42" fmla="*/ 1790700 w 2400300"/>
                <a:gd name="connsiteY42" fmla="*/ 457200 h 1909763"/>
                <a:gd name="connsiteX43" fmla="*/ 1809750 w 2400300"/>
                <a:gd name="connsiteY43" fmla="*/ 366713 h 1909763"/>
                <a:gd name="connsiteX44" fmla="*/ 1709737 w 2400300"/>
                <a:gd name="connsiteY44" fmla="*/ 352425 h 1909763"/>
                <a:gd name="connsiteX45" fmla="*/ 1652587 w 2400300"/>
                <a:gd name="connsiteY45" fmla="*/ 257175 h 1909763"/>
                <a:gd name="connsiteX46" fmla="*/ 1643062 w 2400300"/>
                <a:gd name="connsiteY46" fmla="*/ 90488 h 1909763"/>
                <a:gd name="connsiteX47" fmla="*/ 1576387 w 2400300"/>
                <a:gd name="connsiteY47" fmla="*/ 80963 h 1909763"/>
                <a:gd name="connsiteX48" fmla="*/ 1514475 w 2400300"/>
                <a:gd name="connsiteY48" fmla="*/ 0 h 1909763"/>
                <a:gd name="connsiteX49" fmla="*/ 1428750 w 2400300"/>
                <a:gd name="connsiteY49" fmla="*/ 119063 h 1909763"/>
                <a:gd name="connsiteX50" fmla="*/ 1392237 w 2400300"/>
                <a:gd name="connsiteY50" fmla="*/ 174625 h 1909763"/>
                <a:gd name="connsiteX51" fmla="*/ 1350962 w 2400300"/>
                <a:gd name="connsiteY51" fmla="*/ 185738 h 1909763"/>
                <a:gd name="connsiteX52" fmla="*/ 1262062 w 2400300"/>
                <a:gd name="connsiteY52" fmla="*/ 176213 h 1909763"/>
                <a:gd name="connsiteX53" fmla="*/ 1195387 w 2400300"/>
                <a:gd name="connsiteY53" fmla="*/ 300038 h 1909763"/>
                <a:gd name="connsiteX54" fmla="*/ 1147762 w 2400300"/>
                <a:gd name="connsiteY54" fmla="*/ 481013 h 1909763"/>
                <a:gd name="connsiteX55" fmla="*/ 1000125 w 2400300"/>
                <a:gd name="connsiteY55" fmla="*/ 471488 h 1909763"/>
                <a:gd name="connsiteX56" fmla="*/ 904875 w 2400300"/>
                <a:gd name="connsiteY56" fmla="*/ 519113 h 1909763"/>
                <a:gd name="connsiteX57" fmla="*/ 847725 w 2400300"/>
                <a:gd name="connsiteY57" fmla="*/ 485775 h 1909763"/>
                <a:gd name="connsiteX58" fmla="*/ 862012 w 2400300"/>
                <a:gd name="connsiteY58" fmla="*/ 261938 h 1909763"/>
                <a:gd name="connsiteX59" fmla="*/ 804862 w 2400300"/>
                <a:gd name="connsiteY59" fmla="*/ 223838 h 1909763"/>
                <a:gd name="connsiteX60" fmla="*/ 700087 w 2400300"/>
                <a:gd name="connsiteY60" fmla="*/ 247650 h 1909763"/>
                <a:gd name="connsiteX61" fmla="*/ 652462 w 2400300"/>
                <a:gd name="connsiteY61" fmla="*/ 214313 h 1909763"/>
                <a:gd name="connsiteX62" fmla="*/ 600075 w 2400300"/>
                <a:gd name="connsiteY62" fmla="*/ 223838 h 1909763"/>
                <a:gd name="connsiteX63" fmla="*/ 574675 w 2400300"/>
                <a:gd name="connsiteY63" fmla="*/ 288925 h 1909763"/>
                <a:gd name="connsiteX64" fmla="*/ 547687 w 2400300"/>
                <a:gd name="connsiteY64" fmla="*/ 303213 h 1909763"/>
                <a:gd name="connsiteX65" fmla="*/ 455612 w 2400300"/>
                <a:gd name="connsiteY65" fmla="*/ 261938 h 1909763"/>
                <a:gd name="connsiteX66" fmla="*/ 277812 w 2400300"/>
                <a:gd name="connsiteY66" fmla="*/ 288925 h 1909763"/>
                <a:gd name="connsiteX67" fmla="*/ 209550 w 2400300"/>
                <a:gd name="connsiteY67" fmla="*/ 438150 h 1909763"/>
                <a:gd name="connsiteX68" fmla="*/ 109537 w 2400300"/>
                <a:gd name="connsiteY68" fmla="*/ 490538 h 1909763"/>
                <a:gd name="connsiteX69" fmla="*/ 0 w 2400300"/>
                <a:gd name="connsiteY69" fmla="*/ 685800 h 1909763"/>
                <a:gd name="connsiteX70" fmla="*/ 114300 w 2400300"/>
                <a:gd name="connsiteY70" fmla="*/ 842963 h 1909763"/>
                <a:gd name="connsiteX71" fmla="*/ 123825 w 2400300"/>
                <a:gd name="connsiteY71" fmla="*/ 909638 h 1909763"/>
                <a:gd name="connsiteX72" fmla="*/ 152400 w 2400300"/>
                <a:gd name="connsiteY72" fmla="*/ 952500 h 1909763"/>
                <a:gd name="connsiteX73" fmla="*/ 295275 w 2400300"/>
                <a:gd name="connsiteY73" fmla="*/ 1000125 h 1909763"/>
                <a:gd name="connsiteX74" fmla="*/ 285750 w 2400300"/>
                <a:gd name="connsiteY74" fmla="*/ 1100138 h 1909763"/>
                <a:gd name="connsiteX75" fmla="*/ 300037 w 2400300"/>
                <a:gd name="connsiteY75" fmla="*/ 1181100 h 1909763"/>
                <a:gd name="connsiteX76" fmla="*/ 328612 w 2400300"/>
                <a:gd name="connsiteY76" fmla="*/ 1223963 h 1909763"/>
                <a:gd name="connsiteX77" fmla="*/ 328612 w 2400300"/>
                <a:gd name="connsiteY77" fmla="*/ 1314450 h 1909763"/>
                <a:gd name="connsiteX78" fmla="*/ 260350 w 2400300"/>
                <a:gd name="connsiteY78" fmla="*/ 1350963 h 1909763"/>
                <a:gd name="connsiteX79" fmla="*/ 200025 w 2400300"/>
                <a:gd name="connsiteY79" fmla="*/ 1385888 h 1909763"/>
                <a:gd name="connsiteX80" fmla="*/ 176212 w 2400300"/>
                <a:gd name="connsiteY80" fmla="*/ 1452563 h 1909763"/>
                <a:gd name="connsiteX81" fmla="*/ 133350 w 2400300"/>
                <a:gd name="connsiteY81" fmla="*/ 1476375 h 1909763"/>
                <a:gd name="connsiteX82" fmla="*/ 161925 w 2400300"/>
                <a:gd name="connsiteY82" fmla="*/ 1514475 h 1909763"/>
                <a:gd name="connsiteX83" fmla="*/ 266700 w 2400300"/>
                <a:gd name="connsiteY83" fmla="*/ 1485900 h 1909763"/>
                <a:gd name="connsiteX84" fmla="*/ 309562 w 2400300"/>
                <a:gd name="connsiteY84" fmla="*/ 1400175 h 1909763"/>
                <a:gd name="connsiteX85" fmla="*/ 338137 w 2400300"/>
                <a:gd name="connsiteY85" fmla="*/ 1433513 h 1909763"/>
                <a:gd name="connsiteX86" fmla="*/ 457200 w 2400300"/>
                <a:gd name="connsiteY86" fmla="*/ 1443038 h 1909763"/>
                <a:gd name="connsiteX87" fmla="*/ 504825 w 2400300"/>
                <a:gd name="connsiteY87" fmla="*/ 1466850 h 1909763"/>
                <a:gd name="connsiteX88" fmla="*/ 461962 w 2400300"/>
                <a:gd name="connsiteY88" fmla="*/ 1533525 h 1909763"/>
                <a:gd name="connsiteX89" fmla="*/ 481012 w 2400300"/>
                <a:gd name="connsiteY89" fmla="*/ 1604963 h 1909763"/>
                <a:gd name="connsiteX90" fmla="*/ 438150 w 2400300"/>
                <a:gd name="connsiteY90" fmla="*/ 1671638 h 1909763"/>
                <a:gd name="connsiteX91" fmla="*/ 528637 w 2400300"/>
                <a:gd name="connsiteY91" fmla="*/ 1714500 h 1909763"/>
                <a:gd name="connsiteX92" fmla="*/ 581025 w 2400300"/>
                <a:gd name="connsiteY92" fmla="*/ 1747838 h 1909763"/>
                <a:gd name="connsiteX93" fmla="*/ 576262 w 2400300"/>
                <a:gd name="connsiteY93" fmla="*/ 1838325 h 1909763"/>
                <a:gd name="connsiteX94" fmla="*/ 647700 w 2400300"/>
                <a:gd name="connsiteY94" fmla="*/ 1881188 h 190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400300" h="1909763">
                  <a:moveTo>
                    <a:pt x="647700" y="1881188"/>
                  </a:moveTo>
                  <a:lnTo>
                    <a:pt x="685800" y="1828800"/>
                  </a:lnTo>
                  <a:lnTo>
                    <a:pt x="776287" y="1909763"/>
                  </a:lnTo>
                  <a:lnTo>
                    <a:pt x="919162" y="1866900"/>
                  </a:lnTo>
                  <a:lnTo>
                    <a:pt x="871537" y="1762125"/>
                  </a:lnTo>
                  <a:lnTo>
                    <a:pt x="914400" y="1724025"/>
                  </a:lnTo>
                  <a:lnTo>
                    <a:pt x="871537" y="1671638"/>
                  </a:lnTo>
                  <a:lnTo>
                    <a:pt x="985837" y="1576388"/>
                  </a:lnTo>
                  <a:lnTo>
                    <a:pt x="1076325" y="1619250"/>
                  </a:lnTo>
                  <a:lnTo>
                    <a:pt x="1238250" y="1576388"/>
                  </a:lnTo>
                  <a:lnTo>
                    <a:pt x="1252537" y="1662113"/>
                  </a:lnTo>
                  <a:lnTo>
                    <a:pt x="1333500" y="1633538"/>
                  </a:lnTo>
                  <a:lnTo>
                    <a:pt x="1414462" y="1514475"/>
                  </a:lnTo>
                  <a:lnTo>
                    <a:pt x="1581150" y="1471613"/>
                  </a:lnTo>
                  <a:lnTo>
                    <a:pt x="1738312" y="1457325"/>
                  </a:lnTo>
                  <a:lnTo>
                    <a:pt x="1795462" y="1500188"/>
                  </a:lnTo>
                  <a:lnTo>
                    <a:pt x="1857375" y="1500188"/>
                  </a:lnTo>
                  <a:lnTo>
                    <a:pt x="1928812" y="1552575"/>
                  </a:lnTo>
                  <a:lnTo>
                    <a:pt x="2043112" y="1500188"/>
                  </a:lnTo>
                  <a:lnTo>
                    <a:pt x="2162175" y="1533525"/>
                  </a:lnTo>
                  <a:lnTo>
                    <a:pt x="2295525" y="1519238"/>
                  </a:lnTo>
                  <a:lnTo>
                    <a:pt x="2400300" y="1476375"/>
                  </a:lnTo>
                  <a:lnTo>
                    <a:pt x="2400300" y="1443038"/>
                  </a:lnTo>
                  <a:lnTo>
                    <a:pt x="2328862" y="1404938"/>
                  </a:lnTo>
                  <a:lnTo>
                    <a:pt x="2319337" y="1338263"/>
                  </a:lnTo>
                  <a:lnTo>
                    <a:pt x="2252662" y="1309688"/>
                  </a:lnTo>
                  <a:lnTo>
                    <a:pt x="2328862" y="1262063"/>
                  </a:lnTo>
                  <a:lnTo>
                    <a:pt x="2328862" y="1195388"/>
                  </a:lnTo>
                  <a:lnTo>
                    <a:pt x="2357437" y="1085850"/>
                  </a:lnTo>
                  <a:lnTo>
                    <a:pt x="2200275" y="1028700"/>
                  </a:lnTo>
                  <a:lnTo>
                    <a:pt x="2171700" y="1052513"/>
                  </a:lnTo>
                  <a:lnTo>
                    <a:pt x="2128837" y="1023938"/>
                  </a:lnTo>
                  <a:lnTo>
                    <a:pt x="2147887" y="971550"/>
                  </a:lnTo>
                  <a:lnTo>
                    <a:pt x="2109787" y="909638"/>
                  </a:lnTo>
                  <a:lnTo>
                    <a:pt x="1981200" y="885825"/>
                  </a:lnTo>
                  <a:lnTo>
                    <a:pt x="1982787" y="822325"/>
                  </a:lnTo>
                  <a:lnTo>
                    <a:pt x="2043112" y="695325"/>
                  </a:lnTo>
                  <a:lnTo>
                    <a:pt x="2038350" y="595313"/>
                  </a:lnTo>
                  <a:lnTo>
                    <a:pt x="2009775" y="442913"/>
                  </a:lnTo>
                  <a:lnTo>
                    <a:pt x="1962150" y="428625"/>
                  </a:lnTo>
                  <a:lnTo>
                    <a:pt x="1909762" y="495300"/>
                  </a:lnTo>
                  <a:lnTo>
                    <a:pt x="1866900" y="447675"/>
                  </a:lnTo>
                  <a:lnTo>
                    <a:pt x="1790700" y="457200"/>
                  </a:lnTo>
                  <a:lnTo>
                    <a:pt x="1809750" y="366713"/>
                  </a:lnTo>
                  <a:lnTo>
                    <a:pt x="1709737" y="352425"/>
                  </a:lnTo>
                  <a:lnTo>
                    <a:pt x="1652587" y="257175"/>
                  </a:lnTo>
                  <a:lnTo>
                    <a:pt x="1643062" y="90488"/>
                  </a:lnTo>
                  <a:lnTo>
                    <a:pt x="1576387" y="80963"/>
                  </a:lnTo>
                  <a:lnTo>
                    <a:pt x="1514475" y="0"/>
                  </a:lnTo>
                  <a:lnTo>
                    <a:pt x="1428750" y="119063"/>
                  </a:lnTo>
                  <a:lnTo>
                    <a:pt x="1392237" y="174625"/>
                  </a:lnTo>
                  <a:lnTo>
                    <a:pt x="1350962" y="185738"/>
                  </a:lnTo>
                  <a:lnTo>
                    <a:pt x="1262062" y="176213"/>
                  </a:lnTo>
                  <a:lnTo>
                    <a:pt x="1195387" y="300038"/>
                  </a:lnTo>
                  <a:lnTo>
                    <a:pt x="1147762" y="481013"/>
                  </a:lnTo>
                  <a:lnTo>
                    <a:pt x="1000125" y="471488"/>
                  </a:lnTo>
                  <a:lnTo>
                    <a:pt x="904875" y="519113"/>
                  </a:lnTo>
                  <a:lnTo>
                    <a:pt x="847725" y="485775"/>
                  </a:lnTo>
                  <a:lnTo>
                    <a:pt x="862012" y="261938"/>
                  </a:lnTo>
                  <a:lnTo>
                    <a:pt x="804862" y="223838"/>
                  </a:lnTo>
                  <a:lnTo>
                    <a:pt x="700087" y="247650"/>
                  </a:lnTo>
                  <a:lnTo>
                    <a:pt x="652462" y="214313"/>
                  </a:lnTo>
                  <a:lnTo>
                    <a:pt x="600075" y="223838"/>
                  </a:lnTo>
                  <a:lnTo>
                    <a:pt x="574675" y="288925"/>
                  </a:lnTo>
                  <a:lnTo>
                    <a:pt x="547687" y="303213"/>
                  </a:lnTo>
                  <a:lnTo>
                    <a:pt x="455612" y="261938"/>
                  </a:lnTo>
                  <a:lnTo>
                    <a:pt x="277812" y="288925"/>
                  </a:lnTo>
                  <a:lnTo>
                    <a:pt x="209550" y="438150"/>
                  </a:lnTo>
                  <a:lnTo>
                    <a:pt x="109537" y="490538"/>
                  </a:lnTo>
                  <a:lnTo>
                    <a:pt x="0" y="685800"/>
                  </a:lnTo>
                  <a:lnTo>
                    <a:pt x="114300" y="842963"/>
                  </a:lnTo>
                  <a:lnTo>
                    <a:pt x="123825" y="909638"/>
                  </a:lnTo>
                  <a:lnTo>
                    <a:pt x="152400" y="952500"/>
                  </a:lnTo>
                  <a:lnTo>
                    <a:pt x="295275" y="1000125"/>
                  </a:lnTo>
                  <a:lnTo>
                    <a:pt x="285750" y="1100138"/>
                  </a:lnTo>
                  <a:lnTo>
                    <a:pt x="300037" y="1181100"/>
                  </a:lnTo>
                  <a:lnTo>
                    <a:pt x="328612" y="1223963"/>
                  </a:lnTo>
                  <a:lnTo>
                    <a:pt x="328612" y="1314450"/>
                  </a:lnTo>
                  <a:lnTo>
                    <a:pt x="260350" y="1350963"/>
                  </a:lnTo>
                  <a:lnTo>
                    <a:pt x="200025" y="1385888"/>
                  </a:lnTo>
                  <a:lnTo>
                    <a:pt x="176212" y="1452563"/>
                  </a:lnTo>
                  <a:lnTo>
                    <a:pt x="133350" y="1476375"/>
                  </a:lnTo>
                  <a:lnTo>
                    <a:pt x="161925" y="1514475"/>
                  </a:lnTo>
                  <a:lnTo>
                    <a:pt x="266700" y="1485900"/>
                  </a:lnTo>
                  <a:lnTo>
                    <a:pt x="309562" y="1400175"/>
                  </a:lnTo>
                  <a:lnTo>
                    <a:pt x="338137" y="1433513"/>
                  </a:lnTo>
                  <a:lnTo>
                    <a:pt x="457200" y="1443038"/>
                  </a:lnTo>
                  <a:lnTo>
                    <a:pt x="504825" y="1466850"/>
                  </a:lnTo>
                  <a:lnTo>
                    <a:pt x="461962" y="1533525"/>
                  </a:lnTo>
                  <a:lnTo>
                    <a:pt x="481012" y="1604963"/>
                  </a:lnTo>
                  <a:lnTo>
                    <a:pt x="438150" y="1671638"/>
                  </a:lnTo>
                  <a:lnTo>
                    <a:pt x="528637" y="1714500"/>
                  </a:lnTo>
                  <a:lnTo>
                    <a:pt x="581025" y="1747838"/>
                  </a:lnTo>
                  <a:lnTo>
                    <a:pt x="576262" y="1838325"/>
                  </a:lnTo>
                  <a:lnTo>
                    <a:pt x="647700" y="1881188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Voľná forma 27">
              <a:extLst>
                <a:ext uri="{FF2B5EF4-FFF2-40B4-BE49-F238E27FC236}">
                  <a16:creationId xmlns:a16="http://schemas.microsoft.com/office/drawing/2014/main" id="{572776F9-0A97-4B2D-8009-0328C8703ACC}"/>
                </a:ext>
              </a:extLst>
            </p:cNvPr>
            <p:cNvSpPr/>
            <p:nvPr/>
          </p:nvSpPr>
          <p:spPr>
            <a:xfrm>
              <a:off x="1155700" y="1851025"/>
              <a:ext cx="2092325" cy="1803400"/>
            </a:xfrm>
            <a:custGeom>
              <a:avLst/>
              <a:gdLst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81075 w 2092325"/>
                <a:gd name="connsiteY58" fmla="*/ 615950 h 1803400"/>
                <a:gd name="connsiteX59" fmla="*/ 841375 w 2092325"/>
                <a:gd name="connsiteY59" fmla="*/ 6096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52475 w 2092325"/>
                <a:gd name="connsiteY62" fmla="*/ 844550 h 1803400"/>
                <a:gd name="connsiteX63" fmla="*/ 67627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196850 w 2092325"/>
                <a:gd name="connsiteY67" fmla="*/ 1000125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74725 w 2092325"/>
                <a:gd name="connsiteY58" fmla="*/ 603250 h 1803400"/>
                <a:gd name="connsiteX59" fmla="*/ 841375 w 2092325"/>
                <a:gd name="connsiteY59" fmla="*/ 6096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52475 w 2092325"/>
                <a:gd name="connsiteY62" fmla="*/ 844550 h 1803400"/>
                <a:gd name="connsiteX63" fmla="*/ 67627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196850 w 2092325"/>
                <a:gd name="connsiteY67" fmla="*/ 1000125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74725 w 2092325"/>
                <a:gd name="connsiteY58" fmla="*/ 603250 h 1803400"/>
                <a:gd name="connsiteX59" fmla="*/ 854075 w 2092325"/>
                <a:gd name="connsiteY59" fmla="*/ 5969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52475 w 2092325"/>
                <a:gd name="connsiteY62" fmla="*/ 844550 h 1803400"/>
                <a:gd name="connsiteX63" fmla="*/ 67627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196850 w 2092325"/>
                <a:gd name="connsiteY67" fmla="*/ 1000125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74725 w 2092325"/>
                <a:gd name="connsiteY58" fmla="*/ 603250 h 1803400"/>
                <a:gd name="connsiteX59" fmla="*/ 854075 w 2092325"/>
                <a:gd name="connsiteY59" fmla="*/ 5969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39775 w 2092325"/>
                <a:gd name="connsiteY62" fmla="*/ 831850 h 1803400"/>
                <a:gd name="connsiteX63" fmla="*/ 67627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196850 w 2092325"/>
                <a:gd name="connsiteY67" fmla="*/ 1000125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74725 w 2092325"/>
                <a:gd name="connsiteY58" fmla="*/ 603250 h 1803400"/>
                <a:gd name="connsiteX59" fmla="*/ 854075 w 2092325"/>
                <a:gd name="connsiteY59" fmla="*/ 5969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39775 w 2092325"/>
                <a:gd name="connsiteY62" fmla="*/ 831850 h 1803400"/>
                <a:gd name="connsiteX63" fmla="*/ 65722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196850 w 2092325"/>
                <a:gd name="connsiteY67" fmla="*/ 1000125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  <a:gd name="connsiteX0" fmla="*/ 901700 w 2092325"/>
                <a:gd name="connsiteY0" fmla="*/ 1517650 h 1803400"/>
                <a:gd name="connsiteX1" fmla="*/ 927100 w 2092325"/>
                <a:gd name="connsiteY1" fmla="*/ 1397000 h 1803400"/>
                <a:gd name="connsiteX2" fmla="*/ 908050 w 2092325"/>
                <a:gd name="connsiteY2" fmla="*/ 1333500 h 1803400"/>
                <a:gd name="connsiteX3" fmla="*/ 942975 w 2092325"/>
                <a:gd name="connsiteY3" fmla="*/ 1295400 h 1803400"/>
                <a:gd name="connsiteX4" fmla="*/ 1035050 w 2092325"/>
                <a:gd name="connsiteY4" fmla="*/ 1343025 h 1803400"/>
                <a:gd name="connsiteX5" fmla="*/ 1108075 w 2092325"/>
                <a:gd name="connsiteY5" fmla="*/ 1352550 h 1803400"/>
                <a:gd name="connsiteX6" fmla="*/ 1123950 w 2092325"/>
                <a:gd name="connsiteY6" fmla="*/ 1444625 h 1803400"/>
                <a:gd name="connsiteX7" fmla="*/ 1174750 w 2092325"/>
                <a:gd name="connsiteY7" fmla="*/ 1495425 h 1803400"/>
                <a:gd name="connsiteX8" fmla="*/ 1247775 w 2092325"/>
                <a:gd name="connsiteY8" fmla="*/ 1504950 h 1803400"/>
                <a:gd name="connsiteX9" fmla="*/ 1203325 w 2092325"/>
                <a:gd name="connsiteY9" fmla="*/ 1587500 h 1803400"/>
                <a:gd name="connsiteX10" fmla="*/ 1241425 w 2092325"/>
                <a:gd name="connsiteY10" fmla="*/ 1670050 h 1803400"/>
                <a:gd name="connsiteX11" fmla="*/ 1298575 w 2092325"/>
                <a:gd name="connsiteY11" fmla="*/ 1660525 h 1803400"/>
                <a:gd name="connsiteX12" fmla="*/ 1323975 w 2092325"/>
                <a:gd name="connsiteY12" fmla="*/ 1704975 h 1803400"/>
                <a:gd name="connsiteX13" fmla="*/ 1336675 w 2092325"/>
                <a:gd name="connsiteY13" fmla="*/ 1787525 h 1803400"/>
                <a:gd name="connsiteX14" fmla="*/ 1428750 w 2092325"/>
                <a:gd name="connsiteY14" fmla="*/ 1803400 h 1803400"/>
                <a:gd name="connsiteX15" fmla="*/ 1441450 w 2092325"/>
                <a:gd name="connsiteY15" fmla="*/ 1749425 h 1803400"/>
                <a:gd name="connsiteX16" fmla="*/ 1504950 w 2092325"/>
                <a:gd name="connsiteY16" fmla="*/ 1708150 h 1803400"/>
                <a:gd name="connsiteX17" fmla="*/ 1558925 w 2092325"/>
                <a:gd name="connsiteY17" fmla="*/ 1641475 h 1803400"/>
                <a:gd name="connsiteX18" fmla="*/ 1600200 w 2092325"/>
                <a:gd name="connsiteY18" fmla="*/ 1714500 h 1803400"/>
                <a:gd name="connsiteX19" fmla="*/ 1619250 w 2092325"/>
                <a:gd name="connsiteY19" fmla="*/ 1768475 h 1803400"/>
                <a:gd name="connsiteX20" fmla="*/ 1619250 w 2092325"/>
                <a:gd name="connsiteY20" fmla="*/ 1609725 h 1803400"/>
                <a:gd name="connsiteX21" fmla="*/ 1778000 w 2092325"/>
                <a:gd name="connsiteY21" fmla="*/ 1606550 h 1803400"/>
                <a:gd name="connsiteX22" fmla="*/ 1873250 w 2092325"/>
                <a:gd name="connsiteY22" fmla="*/ 1466850 h 1803400"/>
                <a:gd name="connsiteX23" fmla="*/ 1939925 w 2092325"/>
                <a:gd name="connsiteY23" fmla="*/ 1495425 h 1803400"/>
                <a:gd name="connsiteX24" fmla="*/ 1968500 w 2092325"/>
                <a:gd name="connsiteY24" fmla="*/ 1352550 h 1803400"/>
                <a:gd name="connsiteX25" fmla="*/ 2022475 w 2092325"/>
                <a:gd name="connsiteY25" fmla="*/ 1352550 h 1803400"/>
                <a:gd name="connsiteX26" fmla="*/ 2092325 w 2092325"/>
                <a:gd name="connsiteY26" fmla="*/ 1235075 h 1803400"/>
                <a:gd name="connsiteX27" fmla="*/ 2082800 w 2092325"/>
                <a:gd name="connsiteY27" fmla="*/ 1196975 h 1803400"/>
                <a:gd name="connsiteX28" fmla="*/ 2022475 w 2092325"/>
                <a:gd name="connsiteY28" fmla="*/ 1158875 h 1803400"/>
                <a:gd name="connsiteX29" fmla="*/ 2022475 w 2092325"/>
                <a:gd name="connsiteY29" fmla="*/ 1069975 h 1803400"/>
                <a:gd name="connsiteX30" fmla="*/ 1955800 w 2092325"/>
                <a:gd name="connsiteY30" fmla="*/ 1028700 h 1803400"/>
                <a:gd name="connsiteX31" fmla="*/ 1882775 w 2092325"/>
                <a:gd name="connsiteY31" fmla="*/ 993775 h 1803400"/>
                <a:gd name="connsiteX32" fmla="*/ 1924050 w 2092325"/>
                <a:gd name="connsiteY32" fmla="*/ 917575 h 1803400"/>
                <a:gd name="connsiteX33" fmla="*/ 1905000 w 2092325"/>
                <a:gd name="connsiteY33" fmla="*/ 847725 h 1803400"/>
                <a:gd name="connsiteX34" fmla="*/ 1949450 w 2092325"/>
                <a:gd name="connsiteY34" fmla="*/ 781050 h 1803400"/>
                <a:gd name="connsiteX35" fmla="*/ 1898650 w 2092325"/>
                <a:gd name="connsiteY35" fmla="*/ 762000 h 1803400"/>
                <a:gd name="connsiteX36" fmla="*/ 1778000 w 2092325"/>
                <a:gd name="connsiteY36" fmla="*/ 755650 h 1803400"/>
                <a:gd name="connsiteX37" fmla="*/ 1749425 w 2092325"/>
                <a:gd name="connsiteY37" fmla="*/ 723900 h 1803400"/>
                <a:gd name="connsiteX38" fmla="*/ 1708150 w 2092325"/>
                <a:gd name="connsiteY38" fmla="*/ 809625 h 1803400"/>
                <a:gd name="connsiteX39" fmla="*/ 1600200 w 2092325"/>
                <a:gd name="connsiteY39" fmla="*/ 835025 h 1803400"/>
                <a:gd name="connsiteX40" fmla="*/ 1577975 w 2092325"/>
                <a:gd name="connsiteY40" fmla="*/ 803275 h 1803400"/>
                <a:gd name="connsiteX41" fmla="*/ 1625600 w 2092325"/>
                <a:gd name="connsiteY41" fmla="*/ 774700 h 1803400"/>
                <a:gd name="connsiteX42" fmla="*/ 1638300 w 2092325"/>
                <a:gd name="connsiteY42" fmla="*/ 701675 h 1803400"/>
                <a:gd name="connsiteX43" fmla="*/ 1774825 w 2092325"/>
                <a:gd name="connsiteY43" fmla="*/ 631825 h 1803400"/>
                <a:gd name="connsiteX44" fmla="*/ 1768475 w 2092325"/>
                <a:gd name="connsiteY44" fmla="*/ 533400 h 1803400"/>
                <a:gd name="connsiteX45" fmla="*/ 1736725 w 2092325"/>
                <a:gd name="connsiteY45" fmla="*/ 501650 h 1803400"/>
                <a:gd name="connsiteX46" fmla="*/ 1727200 w 2092325"/>
                <a:gd name="connsiteY46" fmla="*/ 419100 h 1803400"/>
                <a:gd name="connsiteX47" fmla="*/ 1736725 w 2092325"/>
                <a:gd name="connsiteY47" fmla="*/ 311150 h 1803400"/>
                <a:gd name="connsiteX48" fmla="*/ 1593850 w 2092325"/>
                <a:gd name="connsiteY48" fmla="*/ 276225 h 1803400"/>
                <a:gd name="connsiteX49" fmla="*/ 1562100 w 2092325"/>
                <a:gd name="connsiteY49" fmla="*/ 234950 h 1803400"/>
                <a:gd name="connsiteX50" fmla="*/ 1558925 w 2092325"/>
                <a:gd name="connsiteY50" fmla="*/ 161925 h 1803400"/>
                <a:gd name="connsiteX51" fmla="*/ 1441450 w 2092325"/>
                <a:gd name="connsiteY51" fmla="*/ 0 h 1803400"/>
                <a:gd name="connsiteX52" fmla="*/ 1228725 w 2092325"/>
                <a:gd name="connsiteY52" fmla="*/ 57150 h 1803400"/>
                <a:gd name="connsiteX53" fmla="*/ 1165225 w 2092325"/>
                <a:gd name="connsiteY53" fmla="*/ 107950 h 1803400"/>
                <a:gd name="connsiteX54" fmla="*/ 1066800 w 2092325"/>
                <a:gd name="connsiteY54" fmla="*/ 282575 h 1803400"/>
                <a:gd name="connsiteX55" fmla="*/ 1066800 w 2092325"/>
                <a:gd name="connsiteY55" fmla="*/ 358775 h 1803400"/>
                <a:gd name="connsiteX56" fmla="*/ 1108075 w 2092325"/>
                <a:gd name="connsiteY56" fmla="*/ 473075 h 1803400"/>
                <a:gd name="connsiteX57" fmla="*/ 1054100 w 2092325"/>
                <a:gd name="connsiteY57" fmla="*/ 590550 h 1803400"/>
                <a:gd name="connsiteX58" fmla="*/ 974725 w 2092325"/>
                <a:gd name="connsiteY58" fmla="*/ 603250 h 1803400"/>
                <a:gd name="connsiteX59" fmla="*/ 854075 w 2092325"/>
                <a:gd name="connsiteY59" fmla="*/ 596900 h 1803400"/>
                <a:gd name="connsiteX60" fmla="*/ 800100 w 2092325"/>
                <a:gd name="connsiteY60" fmla="*/ 647700 h 1803400"/>
                <a:gd name="connsiteX61" fmla="*/ 796925 w 2092325"/>
                <a:gd name="connsiteY61" fmla="*/ 781050 h 1803400"/>
                <a:gd name="connsiteX62" fmla="*/ 739775 w 2092325"/>
                <a:gd name="connsiteY62" fmla="*/ 831850 h 1803400"/>
                <a:gd name="connsiteX63" fmla="*/ 657225 w 2092325"/>
                <a:gd name="connsiteY63" fmla="*/ 825500 h 1803400"/>
                <a:gd name="connsiteX64" fmla="*/ 603250 w 2092325"/>
                <a:gd name="connsiteY64" fmla="*/ 942975 h 1803400"/>
                <a:gd name="connsiteX65" fmla="*/ 415925 w 2092325"/>
                <a:gd name="connsiteY65" fmla="*/ 1009650 h 1803400"/>
                <a:gd name="connsiteX66" fmla="*/ 292100 w 2092325"/>
                <a:gd name="connsiteY66" fmla="*/ 1069975 h 1803400"/>
                <a:gd name="connsiteX67" fmla="*/ 203200 w 2092325"/>
                <a:gd name="connsiteY67" fmla="*/ 984250 h 1803400"/>
                <a:gd name="connsiteX68" fmla="*/ 69850 w 2092325"/>
                <a:gd name="connsiteY68" fmla="*/ 1079500 h 1803400"/>
                <a:gd name="connsiteX69" fmla="*/ 0 w 2092325"/>
                <a:gd name="connsiteY69" fmla="*/ 1143000 h 1803400"/>
                <a:gd name="connsiteX70" fmla="*/ 3175 w 2092325"/>
                <a:gd name="connsiteY70" fmla="*/ 1193800 h 1803400"/>
                <a:gd name="connsiteX71" fmla="*/ 88900 w 2092325"/>
                <a:gd name="connsiteY71" fmla="*/ 1162050 h 1803400"/>
                <a:gd name="connsiteX72" fmla="*/ 171450 w 2092325"/>
                <a:gd name="connsiteY72" fmla="*/ 1219200 h 1803400"/>
                <a:gd name="connsiteX73" fmla="*/ 149225 w 2092325"/>
                <a:gd name="connsiteY73" fmla="*/ 1304925 h 1803400"/>
                <a:gd name="connsiteX74" fmla="*/ 234950 w 2092325"/>
                <a:gd name="connsiteY74" fmla="*/ 1492250 h 1803400"/>
                <a:gd name="connsiteX75" fmla="*/ 346075 w 2092325"/>
                <a:gd name="connsiteY75" fmla="*/ 1495425 h 1803400"/>
                <a:gd name="connsiteX76" fmla="*/ 384175 w 2092325"/>
                <a:gd name="connsiteY76" fmla="*/ 1444625 h 1803400"/>
                <a:gd name="connsiteX77" fmla="*/ 368300 w 2092325"/>
                <a:gd name="connsiteY77" fmla="*/ 1374775 h 1803400"/>
                <a:gd name="connsiteX78" fmla="*/ 454025 w 2092325"/>
                <a:gd name="connsiteY78" fmla="*/ 1419225 h 1803400"/>
                <a:gd name="connsiteX79" fmla="*/ 523875 w 2092325"/>
                <a:gd name="connsiteY79" fmla="*/ 1381125 h 1803400"/>
                <a:gd name="connsiteX80" fmla="*/ 581025 w 2092325"/>
                <a:gd name="connsiteY80" fmla="*/ 1466850 h 1803400"/>
                <a:gd name="connsiteX81" fmla="*/ 631825 w 2092325"/>
                <a:gd name="connsiteY81" fmla="*/ 1473200 h 1803400"/>
                <a:gd name="connsiteX82" fmla="*/ 711200 w 2092325"/>
                <a:gd name="connsiteY82" fmla="*/ 1441450 h 1803400"/>
                <a:gd name="connsiteX83" fmla="*/ 806450 w 2092325"/>
                <a:gd name="connsiteY83" fmla="*/ 1508125 h 1803400"/>
                <a:gd name="connsiteX84" fmla="*/ 901700 w 2092325"/>
                <a:gd name="connsiteY84" fmla="*/ 1517650 h 180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092325" h="1803400">
                  <a:moveTo>
                    <a:pt x="901700" y="1517650"/>
                  </a:moveTo>
                  <a:lnTo>
                    <a:pt x="927100" y="1397000"/>
                  </a:lnTo>
                  <a:lnTo>
                    <a:pt x="908050" y="1333500"/>
                  </a:lnTo>
                  <a:lnTo>
                    <a:pt x="942975" y="1295400"/>
                  </a:lnTo>
                  <a:lnTo>
                    <a:pt x="1035050" y="1343025"/>
                  </a:lnTo>
                  <a:lnTo>
                    <a:pt x="1108075" y="1352550"/>
                  </a:lnTo>
                  <a:lnTo>
                    <a:pt x="1123950" y="1444625"/>
                  </a:lnTo>
                  <a:lnTo>
                    <a:pt x="1174750" y="1495425"/>
                  </a:lnTo>
                  <a:lnTo>
                    <a:pt x="1247775" y="1504950"/>
                  </a:lnTo>
                  <a:lnTo>
                    <a:pt x="1203325" y="1587500"/>
                  </a:lnTo>
                  <a:lnTo>
                    <a:pt x="1241425" y="1670050"/>
                  </a:lnTo>
                  <a:lnTo>
                    <a:pt x="1298575" y="1660525"/>
                  </a:lnTo>
                  <a:lnTo>
                    <a:pt x="1323975" y="1704975"/>
                  </a:lnTo>
                  <a:lnTo>
                    <a:pt x="1336675" y="1787525"/>
                  </a:lnTo>
                  <a:lnTo>
                    <a:pt x="1428750" y="1803400"/>
                  </a:lnTo>
                  <a:lnTo>
                    <a:pt x="1441450" y="1749425"/>
                  </a:lnTo>
                  <a:lnTo>
                    <a:pt x="1504950" y="1708150"/>
                  </a:lnTo>
                  <a:lnTo>
                    <a:pt x="1558925" y="1641475"/>
                  </a:lnTo>
                  <a:lnTo>
                    <a:pt x="1600200" y="1714500"/>
                  </a:lnTo>
                  <a:lnTo>
                    <a:pt x="1619250" y="1768475"/>
                  </a:lnTo>
                  <a:lnTo>
                    <a:pt x="1619250" y="1609725"/>
                  </a:lnTo>
                  <a:lnTo>
                    <a:pt x="1778000" y="1606550"/>
                  </a:lnTo>
                  <a:lnTo>
                    <a:pt x="1873250" y="1466850"/>
                  </a:lnTo>
                  <a:lnTo>
                    <a:pt x="1939925" y="1495425"/>
                  </a:lnTo>
                  <a:lnTo>
                    <a:pt x="1968500" y="1352550"/>
                  </a:lnTo>
                  <a:lnTo>
                    <a:pt x="2022475" y="1352550"/>
                  </a:lnTo>
                  <a:lnTo>
                    <a:pt x="2092325" y="1235075"/>
                  </a:lnTo>
                  <a:lnTo>
                    <a:pt x="2082800" y="1196975"/>
                  </a:lnTo>
                  <a:lnTo>
                    <a:pt x="2022475" y="1158875"/>
                  </a:lnTo>
                  <a:lnTo>
                    <a:pt x="2022475" y="1069975"/>
                  </a:lnTo>
                  <a:lnTo>
                    <a:pt x="1955800" y="1028700"/>
                  </a:lnTo>
                  <a:lnTo>
                    <a:pt x="1882775" y="993775"/>
                  </a:lnTo>
                  <a:lnTo>
                    <a:pt x="1924050" y="917575"/>
                  </a:lnTo>
                  <a:lnTo>
                    <a:pt x="1905000" y="847725"/>
                  </a:lnTo>
                  <a:lnTo>
                    <a:pt x="1949450" y="781050"/>
                  </a:lnTo>
                  <a:lnTo>
                    <a:pt x="1898650" y="762000"/>
                  </a:lnTo>
                  <a:lnTo>
                    <a:pt x="1778000" y="755650"/>
                  </a:lnTo>
                  <a:lnTo>
                    <a:pt x="1749425" y="723900"/>
                  </a:lnTo>
                  <a:lnTo>
                    <a:pt x="1708150" y="809625"/>
                  </a:lnTo>
                  <a:lnTo>
                    <a:pt x="1600200" y="835025"/>
                  </a:lnTo>
                  <a:lnTo>
                    <a:pt x="1577975" y="803275"/>
                  </a:lnTo>
                  <a:lnTo>
                    <a:pt x="1625600" y="774700"/>
                  </a:lnTo>
                  <a:lnTo>
                    <a:pt x="1638300" y="701675"/>
                  </a:lnTo>
                  <a:lnTo>
                    <a:pt x="1774825" y="631825"/>
                  </a:lnTo>
                  <a:lnTo>
                    <a:pt x="1768475" y="533400"/>
                  </a:lnTo>
                  <a:lnTo>
                    <a:pt x="1736725" y="501650"/>
                  </a:lnTo>
                  <a:lnTo>
                    <a:pt x="1727200" y="419100"/>
                  </a:lnTo>
                  <a:lnTo>
                    <a:pt x="1736725" y="311150"/>
                  </a:lnTo>
                  <a:lnTo>
                    <a:pt x="1593850" y="276225"/>
                  </a:lnTo>
                  <a:lnTo>
                    <a:pt x="1562100" y="234950"/>
                  </a:lnTo>
                  <a:lnTo>
                    <a:pt x="1558925" y="161925"/>
                  </a:lnTo>
                  <a:lnTo>
                    <a:pt x="1441450" y="0"/>
                  </a:lnTo>
                  <a:lnTo>
                    <a:pt x="1228725" y="57150"/>
                  </a:lnTo>
                  <a:lnTo>
                    <a:pt x="1165225" y="107950"/>
                  </a:lnTo>
                  <a:lnTo>
                    <a:pt x="1066800" y="282575"/>
                  </a:lnTo>
                  <a:lnTo>
                    <a:pt x="1066800" y="358775"/>
                  </a:lnTo>
                  <a:lnTo>
                    <a:pt x="1108075" y="473075"/>
                  </a:lnTo>
                  <a:lnTo>
                    <a:pt x="1054100" y="590550"/>
                  </a:lnTo>
                  <a:lnTo>
                    <a:pt x="974725" y="603250"/>
                  </a:lnTo>
                  <a:lnTo>
                    <a:pt x="854075" y="596900"/>
                  </a:lnTo>
                  <a:lnTo>
                    <a:pt x="800100" y="647700"/>
                  </a:lnTo>
                  <a:cubicBezTo>
                    <a:pt x="799042" y="692150"/>
                    <a:pt x="797983" y="736600"/>
                    <a:pt x="796925" y="781050"/>
                  </a:cubicBezTo>
                  <a:lnTo>
                    <a:pt x="739775" y="831850"/>
                  </a:lnTo>
                  <a:lnTo>
                    <a:pt x="657225" y="825500"/>
                  </a:lnTo>
                  <a:lnTo>
                    <a:pt x="603250" y="942975"/>
                  </a:lnTo>
                  <a:lnTo>
                    <a:pt x="415925" y="1009650"/>
                  </a:lnTo>
                  <a:lnTo>
                    <a:pt x="292100" y="1069975"/>
                  </a:lnTo>
                  <a:lnTo>
                    <a:pt x="203200" y="984250"/>
                  </a:lnTo>
                  <a:lnTo>
                    <a:pt x="69850" y="1079500"/>
                  </a:lnTo>
                  <a:lnTo>
                    <a:pt x="0" y="1143000"/>
                  </a:lnTo>
                  <a:lnTo>
                    <a:pt x="3175" y="1193800"/>
                  </a:lnTo>
                  <a:lnTo>
                    <a:pt x="88900" y="1162050"/>
                  </a:lnTo>
                  <a:lnTo>
                    <a:pt x="171450" y="1219200"/>
                  </a:lnTo>
                  <a:lnTo>
                    <a:pt x="149225" y="1304925"/>
                  </a:lnTo>
                  <a:lnTo>
                    <a:pt x="234950" y="1492250"/>
                  </a:lnTo>
                  <a:lnTo>
                    <a:pt x="346075" y="1495425"/>
                  </a:lnTo>
                  <a:lnTo>
                    <a:pt x="384175" y="1444625"/>
                  </a:lnTo>
                  <a:lnTo>
                    <a:pt x="368300" y="1374775"/>
                  </a:lnTo>
                  <a:lnTo>
                    <a:pt x="454025" y="1419225"/>
                  </a:lnTo>
                  <a:lnTo>
                    <a:pt x="523875" y="1381125"/>
                  </a:lnTo>
                  <a:lnTo>
                    <a:pt x="581025" y="1466850"/>
                  </a:lnTo>
                  <a:lnTo>
                    <a:pt x="631825" y="1473200"/>
                  </a:lnTo>
                  <a:lnTo>
                    <a:pt x="711200" y="1441450"/>
                  </a:lnTo>
                  <a:lnTo>
                    <a:pt x="806450" y="1508125"/>
                  </a:lnTo>
                  <a:lnTo>
                    <a:pt x="901700" y="1517650"/>
                  </a:lnTo>
                  <a:close/>
                </a:path>
              </a:pathLst>
            </a:custGeom>
            <a:solidFill>
              <a:srgbClr val="A2AD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Voľná forma 28">
              <a:extLst>
                <a:ext uri="{FF2B5EF4-FFF2-40B4-BE49-F238E27FC236}">
                  <a16:creationId xmlns:a16="http://schemas.microsoft.com/office/drawing/2014/main" id="{234BF4E1-1AD2-4BBD-B446-A54CD339C0E6}"/>
                </a:ext>
              </a:extLst>
            </p:cNvPr>
            <p:cNvSpPr/>
            <p:nvPr/>
          </p:nvSpPr>
          <p:spPr>
            <a:xfrm>
              <a:off x="561975" y="2800350"/>
              <a:ext cx="1509713" cy="2386013"/>
            </a:xfrm>
            <a:custGeom>
              <a:avLst/>
              <a:gdLst>
                <a:gd name="connsiteX0" fmla="*/ 1114425 w 1509713"/>
                <a:gd name="connsiteY0" fmla="*/ 2386013 h 2386013"/>
                <a:gd name="connsiteX1" fmla="*/ 1114425 w 1509713"/>
                <a:gd name="connsiteY1" fmla="*/ 2262188 h 2386013"/>
                <a:gd name="connsiteX2" fmla="*/ 1195388 w 1509713"/>
                <a:gd name="connsiteY2" fmla="*/ 2305050 h 2386013"/>
                <a:gd name="connsiteX3" fmla="*/ 1223963 w 1509713"/>
                <a:gd name="connsiteY3" fmla="*/ 2262188 h 2386013"/>
                <a:gd name="connsiteX4" fmla="*/ 1257300 w 1509713"/>
                <a:gd name="connsiteY4" fmla="*/ 2147888 h 2386013"/>
                <a:gd name="connsiteX5" fmla="*/ 1295400 w 1509713"/>
                <a:gd name="connsiteY5" fmla="*/ 2119313 h 2386013"/>
                <a:gd name="connsiteX6" fmla="*/ 1352550 w 1509713"/>
                <a:gd name="connsiteY6" fmla="*/ 2090738 h 2386013"/>
                <a:gd name="connsiteX7" fmla="*/ 1323975 w 1509713"/>
                <a:gd name="connsiteY7" fmla="*/ 2047875 h 2386013"/>
                <a:gd name="connsiteX8" fmla="*/ 1371600 w 1509713"/>
                <a:gd name="connsiteY8" fmla="*/ 2009775 h 2386013"/>
                <a:gd name="connsiteX9" fmla="*/ 1319213 w 1509713"/>
                <a:gd name="connsiteY9" fmla="*/ 1733550 h 2386013"/>
                <a:gd name="connsiteX10" fmla="*/ 1247775 w 1509713"/>
                <a:gd name="connsiteY10" fmla="*/ 1747838 h 2386013"/>
                <a:gd name="connsiteX11" fmla="*/ 1219200 w 1509713"/>
                <a:gd name="connsiteY11" fmla="*/ 1700213 h 2386013"/>
                <a:gd name="connsiteX12" fmla="*/ 1243013 w 1509713"/>
                <a:gd name="connsiteY12" fmla="*/ 1643063 h 2386013"/>
                <a:gd name="connsiteX13" fmla="*/ 1138238 w 1509713"/>
                <a:gd name="connsiteY13" fmla="*/ 1552575 h 2386013"/>
                <a:gd name="connsiteX14" fmla="*/ 1262063 w 1509713"/>
                <a:gd name="connsiteY14" fmla="*/ 1547813 h 2386013"/>
                <a:gd name="connsiteX15" fmla="*/ 1195388 w 1509713"/>
                <a:gd name="connsiteY15" fmla="*/ 1447800 h 2386013"/>
                <a:gd name="connsiteX16" fmla="*/ 1271588 w 1509713"/>
                <a:gd name="connsiteY16" fmla="*/ 1504950 h 2386013"/>
                <a:gd name="connsiteX17" fmla="*/ 1328738 w 1509713"/>
                <a:gd name="connsiteY17" fmla="*/ 1504950 h 2386013"/>
                <a:gd name="connsiteX18" fmla="*/ 1347788 w 1509713"/>
                <a:gd name="connsiteY18" fmla="*/ 1433513 h 2386013"/>
                <a:gd name="connsiteX19" fmla="*/ 1314450 w 1509713"/>
                <a:gd name="connsiteY19" fmla="*/ 1376363 h 2386013"/>
                <a:gd name="connsiteX20" fmla="*/ 1323975 w 1509713"/>
                <a:gd name="connsiteY20" fmla="*/ 1304925 h 2386013"/>
                <a:gd name="connsiteX21" fmla="*/ 1290638 w 1509713"/>
                <a:gd name="connsiteY21" fmla="*/ 1266825 h 2386013"/>
                <a:gd name="connsiteX22" fmla="*/ 1362075 w 1509713"/>
                <a:gd name="connsiteY22" fmla="*/ 1023938 h 2386013"/>
                <a:gd name="connsiteX23" fmla="*/ 1462088 w 1509713"/>
                <a:gd name="connsiteY23" fmla="*/ 890588 h 2386013"/>
                <a:gd name="connsiteX24" fmla="*/ 1433513 w 1509713"/>
                <a:gd name="connsiteY24" fmla="*/ 838200 h 2386013"/>
                <a:gd name="connsiteX25" fmla="*/ 1366838 w 1509713"/>
                <a:gd name="connsiteY25" fmla="*/ 804863 h 2386013"/>
                <a:gd name="connsiteX26" fmla="*/ 1304925 w 1509713"/>
                <a:gd name="connsiteY26" fmla="*/ 714375 h 2386013"/>
                <a:gd name="connsiteX27" fmla="*/ 1304925 w 1509713"/>
                <a:gd name="connsiteY27" fmla="*/ 647700 h 2386013"/>
                <a:gd name="connsiteX28" fmla="*/ 1462088 w 1509713"/>
                <a:gd name="connsiteY28" fmla="*/ 633413 h 2386013"/>
                <a:gd name="connsiteX29" fmla="*/ 1509713 w 1509713"/>
                <a:gd name="connsiteY29" fmla="*/ 609600 h 2386013"/>
                <a:gd name="connsiteX30" fmla="*/ 1490663 w 1509713"/>
                <a:gd name="connsiteY30" fmla="*/ 566738 h 2386013"/>
                <a:gd name="connsiteX31" fmla="*/ 1404938 w 1509713"/>
                <a:gd name="connsiteY31" fmla="*/ 561975 h 2386013"/>
                <a:gd name="connsiteX32" fmla="*/ 1314450 w 1509713"/>
                <a:gd name="connsiteY32" fmla="*/ 495300 h 2386013"/>
                <a:gd name="connsiteX33" fmla="*/ 1228725 w 1509713"/>
                <a:gd name="connsiteY33" fmla="*/ 523875 h 2386013"/>
                <a:gd name="connsiteX34" fmla="*/ 1185863 w 1509713"/>
                <a:gd name="connsiteY34" fmla="*/ 523875 h 2386013"/>
                <a:gd name="connsiteX35" fmla="*/ 1119188 w 1509713"/>
                <a:gd name="connsiteY35" fmla="*/ 438150 h 2386013"/>
                <a:gd name="connsiteX36" fmla="*/ 1052513 w 1509713"/>
                <a:gd name="connsiteY36" fmla="*/ 471488 h 2386013"/>
                <a:gd name="connsiteX37" fmla="*/ 962025 w 1509713"/>
                <a:gd name="connsiteY37" fmla="*/ 423863 h 2386013"/>
                <a:gd name="connsiteX38" fmla="*/ 981075 w 1509713"/>
                <a:gd name="connsiteY38" fmla="*/ 495300 h 2386013"/>
                <a:gd name="connsiteX39" fmla="*/ 947738 w 1509713"/>
                <a:gd name="connsiteY39" fmla="*/ 547688 h 2386013"/>
                <a:gd name="connsiteX40" fmla="*/ 833438 w 1509713"/>
                <a:gd name="connsiteY40" fmla="*/ 547688 h 2386013"/>
                <a:gd name="connsiteX41" fmla="*/ 752475 w 1509713"/>
                <a:gd name="connsiteY41" fmla="*/ 366713 h 2386013"/>
                <a:gd name="connsiteX42" fmla="*/ 776288 w 1509713"/>
                <a:gd name="connsiteY42" fmla="*/ 266700 h 2386013"/>
                <a:gd name="connsiteX43" fmla="*/ 690563 w 1509713"/>
                <a:gd name="connsiteY43" fmla="*/ 214313 h 2386013"/>
                <a:gd name="connsiteX44" fmla="*/ 600075 w 1509713"/>
                <a:gd name="connsiteY44" fmla="*/ 247650 h 2386013"/>
                <a:gd name="connsiteX45" fmla="*/ 595313 w 1509713"/>
                <a:gd name="connsiteY45" fmla="*/ 190500 h 2386013"/>
                <a:gd name="connsiteX46" fmla="*/ 681038 w 1509713"/>
                <a:gd name="connsiteY46" fmla="*/ 114300 h 2386013"/>
                <a:gd name="connsiteX47" fmla="*/ 585788 w 1509713"/>
                <a:gd name="connsiteY47" fmla="*/ 38100 h 2386013"/>
                <a:gd name="connsiteX48" fmla="*/ 385763 w 1509713"/>
                <a:gd name="connsiteY48" fmla="*/ 0 h 2386013"/>
                <a:gd name="connsiteX49" fmla="*/ 233363 w 1509713"/>
                <a:gd name="connsiteY49" fmla="*/ 128588 h 2386013"/>
                <a:gd name="connsiteX50" fmla="*/ 200025 w 1509713"/>
                <a:gd name="connsiteY50" fmla="*/ 219075 h 2386013"/>
                <a:gd name="connsiteX51" fmla="*/ 123825 w 1509713"/>
                <a:gd name="connsiteY51" fmla="*/ 295275 h 2386013"/>
                <a:gd name="connsiteX52" fmla="*/ 71438 w 1509713"/>
                <a:gd name="connsiteY52" fmla="*/ 495300 h 2386013"/>
                <a:gd name="connsiteX53" fmla="*/ 0 w 1509713"/>
                <a:gd name="connsiteY53" fmla="*/ 557213 h 2386013"/>
                <a:gd name="connsiteX54" fmla="*/ 33338 w 1509713"/>
                <a:gd name="connsiteY54" fmla="*/ 728663 h 2386013"/>
                <a:gd name="connsiteX55" fmla="*/ 166688 w 1509713"/>
                <a:gd name="connsiteY55" fmla="*/ 690563 h 2386013"/>
                <a:gd name="connsiteX56" fmla="*/ 223838 w 1509713"/>
                <a:gd name="connsiteY56" fmla="*/ 714375 h 2386013"/>
                <a:gd name="connsiteX57" fmla="*/ 252413 w 1509713"/>
                <a:gd name="connsiteY57" fmla="*/ 676275 h 2386013"/>
                <a:gd name="connsiteX58" fmla="*/ 290513 w 1509713"/>
                <a:gd name="connsiteY58" fmla="*/ 719138 h 2386013"/>
                <a:gd name="connsiteX59" fmla="*/ 428625 w 1509713"/>
                <a:gd name="connsiteY59" fmla="*/ 661988 h 2386013"/>
                <a:gd name="connsiteX60" fmla="*/ 442913 w 1509713"/>
                <a:gd name="connsiteY60" fmla="*/ 600075 h 2386013"/>
                <a:gd name="connsiteX61" fmla="*/ 495300 w 1509713"/>
                <a:gd name="connsiteY61" fmla="*/ 585788 h 2386013"/>
                <a:gd name="connsiteX62" fmla="*/ 566738 w 1509713"/>
                <a:gd name="connsiteY62" fmla="*/ 495300 h 2386013"/>
                <a:gd name="connsiteX63" fmla="*/ 604838 w 1509713"/>
                <a:gd name="connsiteY63" fmla="*/ 533400 h 2386013"/>
                <a:gd name="connsiteX64" fmla="*/ 604838 w 1509713"/>
                <a:gd name="connsiteY64" fmla="*/ 600075 h 2386013"/>
                <a:gd name="connsiteX65" fmla="*/ 523875 w 1509713"/>
                <a:gd name="connsiteY65" fmla="*/ 661988 h 2386013"/>
                <a:gd name="connsiteX66" fmla="*/ 514350 w 1509713"/>
                <a:gd name="connsiteY66" fmla="*/ 714375 h 2386013"/>
                <a:gd name="connsiteX67" fmla="*/ 561975 w 1509713"/>
                <a:gd name="connsiteY67" fmla="*/ 781050 h 2386013"/>
                <a:gd name="connsiteX68" fmla="*/ 542925 w 1509713"/>
                <a:gd name="connsiteY68" fmla="*/ 814388 h 2386013"/>
                <a:gd name="connsiteX69" fmla="*/ 495300 w 1509713"/>
                <a:gd name="connsiteY69" fmla="*/ 881063 h 2386013"/>
                <a:gd name="connsiteX70" fmla="*/ 495300 w 1509713"/>
                <a:gd name="connsiteY70" fmla="*/ 923925 h 2386013"/>
                <a:gd name="connsiteX71" fmla="*/ 566738 w 1509713"/>
                <a:gd name="connsiteY71" fmla="*/ 947738 h 2386013"/>
                <a:gd name="connsiteX72" fmla="*/ 628650 w 1509713"/>
                <a:gd name="connsiteY72" fmla="*/ 976313 h 2386013"/>
                <a:gd name="connsiteX73" fmla="*/ 657225 w 1509713"/>
                <a:gd name="connsiteY73" fmla="*/ 1052513 h 2386013"/>
                <a:gd name="connsiteX74" fmla="*/ 766763 w 1509713"/>
                <a:gd name="connsiteY74" fmla="*/ 1104900 h 2386013"/>
                <a:gd name="connsiteX75" fmla="*/ 766763 w 1509713"/>
                <a:gd name="connsiteY75" fmla="*/ 1104900 h 2386013"/>
                <a:gd name="connsiteX76" fmla="*/ 700088 w 1509713"/>
                <a:gd name="connsiteY76" fmla="*/ 1223963 h 2386013"/>
                <a:gd name="connsiteX77" fmla="*/ 719138 w 1509713"/>
                <a:gd name="connsiteY77" fmla="*/ 1276350 h 2386013"/>
                <a:gd name="connsiteX78" fmla="*/ 776288 w 1509713"/>
                <a:gd name="connsiteY78" fmla="*/ 1262063 h 2386013"/>
                <a:gd name="connsiteX79" fmla="*/ 814388 w 1509713"/>
                <a:gd name="connsiteY79" fmla="*/ 1290638 h 2386013"/>
                <a:gd name="connsiteX80" fmla="*/ 738188 w 1509713"/>
                <a:gd name="connsiteY80" fmla="*/ 1366838 h 2386013"/>
                <a:gd name="connsiteX81" fmla="*/ 752475 w 1509713"/>
                <a:gd name="connsiteY81" fmla="*/ 1400175 h 2386013"/>
                <a:gd name="connsiteX82" fmla="*/ 828675 w 1509713"/>
                <a:gd name="connsiteY82" fmla="*/ 1457325 h 2386013"/>
                <a:gd name="connsiteX83" fmla="*/ 819150 w 1509713"/>
                <a:gd name="connsiteY83" fmla="*/ 1500188 h 2386013"/>
                <a:gd name="connsiteX84" fmla="*/ 747713 w 1509713"/>
                <a:gd name="connsiteY84" fmla="*/ 1514475 h 2386013"/>
                <a:gd name="connsiteX85" fmla="*/ 719138 w 1509713"/>
                <a:gd name="connsiteY85" fmla="*/ 1562100 h 2386013"/>
                <a:gd name="connsiteX86" fmla="*/ 676275 w 1509713"/>
                <a:gd name="connsiteY86" fmla="*/ 1571625 h 2386013"/>
                <a:gd name="connsiteX87" fmla="*/ 642938 w 1509713"/>
                <a:gd name="connsiteY87" fmla="*/ 1481138 h 2386013"/>
                <a:gd name="connsiteX88" fmla="*/ 604838 w 1509713"/>
                <a:gd name="connsiteY88" fmla="*/ 1490663 h 2386013"/>
                <a:gd name="connsiteX89" fmla="*/ 609600 w 1509713"/>
                <a:gd name="connsiteY89" fmla="*/ 1533525 h 2386013"/>
                <a:gd name="connsiteX90" fmla="*/ 642938 w 1509713"/>
                <a:gd name="connsiteY90" fmla="*/ 1585913 h 2386013"/>
                <a:gd name="connsiteX91" fmla="*/ 614363 w 1509713"/>
                <a:gd name="connsiteY91" fmla="*/ 1604963 h 2386013"/>
                <a:gd name="connsiteX92" fmla="*/ 500063 w 1509713"/>
                <a:gd name="connsiteY92" fmla="*/ 1600200 h 2386013"/>
                <a:gd name="connsiteX93" fmla="*/ 490538 w 1509713"/>
                <a:gd name="connsiteY93" fmla="*/ 1638300 h 2386013"/>
                <a:gd name="connsiteX94" fmla="*/ 552450 w 1509713"/>
                <a:gd name="connsiteY94" fmla="*/ 1662113 h 2386013"/>
                <a:gd name="connsiteX95" fmla="*/ 557213 w 1509713"/>
                <a:gd name="connsiteY95" fmla="*/ 1733550 h 2386013"/>
                <a:gd name="connsiteX96" fmla="*/ 442913 w 1509713"/>
                <a:gd name="connsiteY96" fmla="*/ 1795463 h 2386013"/>
                <a:gd name="connsiteX97" fmla="*/ 361950 w 1509713"/>
                <a:gd name="connsiteY97" fmla="*/ 1890713 h 2386013"/>
                <a:gd name="connsiteX98" fmla="*/ 447675 w 1509713"/>
                <a:gd name="connsiteY98" fmla="*/ 1919288 h 2386013"/>
                <a:gd name="connsiteX99" fmla="*/ 581025 w 1509713"/>
                <a:gd name="connsiteY99" fmla="*/ 1933575 h 2386013"/>
                <a:gd name="connsiteX100" fmla="*/ 628650 w 1509713"/>
                <a:gd name="connsiteY100" fmla="*/ 1981200 h 2386013"/>
                <a:gd name="connsiteX101" fmla="*/ 652463 w 1509713"/>
                <a:gd name="connsiteY101" fmla="*/ 2052638 h 2386013"/>
                <a:gd name="connsiteX102" fmla="*/ 719138 w 1509713"/>
                <a:gd name="connsiteY102" fmla="*/ 2066925 h 2386013"/>
                <a:gd name="connsiteX103" fmla="*/ 723900 w 1509713"/>
                <a:gd name="connsiteY103" fmla="*/ 2166938 h 2386013"/>
                <a:gd name="connsiteX104" fmla="*/ 833438 w 1509713"/>
                <a:gd name="connsiteY104" fmla="*/ 2214563 h 2386013"/>
                <a:gd name="connsiteX105" fmla="*/ 928688 w 1509713"/>
                <a:gd name="connsiteY105" fmla="*/ 2314575 h 2386013"/>
                <a:gd name="connsiteX106" fmla="*/ 1028700 w 1509713"/>
                <a:gd name="connsiteY106" fmla="*/ 2333625 h 2386013"/>
                <a:gd name="connsiteX107" fmla="*/ 1114425 w 1509713"/>
                <a:gd name="connsiteY107" fmla="*/ 2386013 h 238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509713" h="2386013">
                  <a:moveTo>
                    <a:pt x="1114425" y="2386013"/>
                  </a:moveTo>
                  <a:lnTo>
                    <a:pt x="1114425" y="2262188"/>
                  </a:lnTo>
                  <a:lnTo>
                    <a:pt x="1195388" y="2305050"/>
                  </a:lnTo>
                  <a:lnTo>
                    <a:pt x="1223963" y="2262188"/>
                  </a:lnTo>
                  <a:lnTo>
                    <a:pt x="1257300" y="2147888"/>
                  </a:lnTo>
                  <a:lnTo>
                    <a:pt x="1295400" y="2119313"/>
                  </a:lnTo>
                  <a:lnTo>
                    <a:pt x="1352550" y="2090738"/>
                  </a:lnTo>
                  <a:lnTo>
                    <a:pt x="1323975" y="2047875"/>
                  </a:lnTo>
                  <a:lnTo>
                    <a:pt x="1371600" y="2009775"/>
                  </a:lnTo>
                  <a:lnTo>
                    <a:pt x="1319213" y="1733550"/>
                  </a:lnTo>
                  <a:lnTo>
                    <a:pt x="1247775" y="1747838"/>
                  </a:lnTo>
                  <a:lnTo>
                    <a:pt x="1219200" y="1700213"/>
                  </a:lnTo>
                  <a:lnTo>
                    <a:pt x="1243013" y="1643063"/>
                  </a:lnTo>
                  <a:lnTo>
                    <a:pt x="1138238" y="1552575"/>
                  </a:lnTo>
                  <a:lnTo>
                    <a:pt x="1262063" y="1547813"/>
                  </a:lnTo>
                  <a:lnTo>
                    <a:pt x="1195388" y="1447800"/>
                  </a:lnTo>
                  <a:lnTo>
                    <a:pt x="1271588" y="1504950"/>
                  </a:lnTo>
                  <a:lnTo>
                    <a:pt x="1328738" y="1504950"/>
                  </a:lnTo>
                  <a:lnTo>
                    <a:pt x="1347788" y="1433513"/>
                  </a:lnTo>
                  <a:lnTo>
                    <a:pt x="1314450" y="1376363"/>
                  </a:lnTo>
                  <a:lnTo>
                    <a:pt x="1323975" y="1304925"/>
                  </a:lnTo>
                  <a:lnTo>
                    <a:pt x="1290638" y="1266825"/>
                  </a:lnTo>
                  <a:lnTo>
                    <a:pt x="1362075" y="1023938"/>
                  </a:lnTo>
                  <a:lnTo>
                    <a:pt x="1462088" y="890588"/>
                  </a:lnTo>
                  <a:lnTo>
                    <a:pt x="1433513" y="838200"/>
                  </a:lnTo>
                  <a:lnTo>
                    <a:pt x="1366838" y="804863"/>
                  </a:lnTo>
                  <a:lnTo>
                    <a:pt x="1304925" y="714375"/>
                  </a:lnTo>
                  <a:lnTo>
                    <a:pt x="1304925" y="647700"/>
                  </a:lnTo>
                  <a:lnTo>
                    <a:pt x="1462088" y="633413"/>
                  </a:lnTo>
                  <a:lnTo>
                    <a:pt x="1509713" y="609600"/>
                  </a:lnTo>
                  <a:lnTo>
                    <a:pt x="1490663" y="566738"/>
                  </a:lnTo>
                  <a:lnTo>
                    <a:pt x="1404938" y="561975"/>
                  </a:lnTo>
                  <a:lnTo>
                    <a:pt x="1314450" y="495300"/>
                  </a:lnTo>
                  <a:lnTo>
                    <a:pt x="1228725" y="523875"/>
                  </a:lnTo>
                  <a:lnTo>
                    <a:pt x="1185863" y="523875"/>
                  </a:lnTo>
                  <a:lnTo>
                    <a:pt x="1119188" y="438150"/>
                  </a:lnTo>
                  <a:lnTo>
                    <a:pt x="1052513" y="471488"/>
                  </a:lnTo>
                  <a:lnTo>
                    <a:pt x="962025" y="423863"/>
                  </a:lnTo>
                  <a:lnTo>
                    <a:pt x="981075" y="495300"/>
                  </a:lnTo>
                  <a:lnTo>
                    <a:pt x="947738" y="547688"/>
                  </a:lnTo>
                  <a:lnTo>
                    <a:pt x="833438" y="547688"/>
                  </a:lnTo>
                  <a:lnTo>
                    <a:pt x="752475" y="366713"/>
                  </a:lnTo>
                  <a:lnTo>
                    <a:pt x="776288" y="266700"/>
                  </a:lnTo>
                  <a:lnTo>
                    <a:pt x="690563" y="214313"/>
                  </a:lnTo>
                  <a:lnTo>
                    <a:pt x="600075" y="247650"/>
                  </a:lnTo>
                  <a:lnTo>
                    <a:pt x="595313" y="190500"/>
                  </a:lnTo>
                  <a:lnTo>
                    <a:pt x="681038" y="114300"/>
                  </a:lnTo>
                  <a:lnTo>
                    <a:pt x="585788" y="38100"/>
                  </a:lnTo>
                  <a:lnTo>
                    <a:pt x="385763" y="0"/>
                  </a:lnTo>
                  <a:lnTo>
                    <a:pt x="233363" y="128588"/>
                  </a:lnTo>
                  <a:lnTo>
                    <a:pt x="200025" y="219075"/>
                  </a:lnTo>
                  <a:lnTo>
                    <a:pt x="123825" y="295275"/>
                  </a:lnTo>
                  <a:lnTo>
                    <a:pt x="71438" y="495300"/>
                  </a:lnTo>
                  <a:lnTo>
                    <a:pt x="0" y="557213"/>
                  </a:lnTo>
                  <a:lnTo>
                    <a:pt x="33338" y="728663"/>
                  </a:lnTo>
                  <a:lnTo>
                    <a:pt x="166688" y="690563"/>
                  </a:lnTo>
                  <a:lnTo>
                    <a:pt x="223838" y="714375"/>
                  </a:lnTo>
                  <a:lnTo>
                    <a:pt x="252413" y="676275"/>
                  </a:lnTo>
                  <a:lnTo>
                    <a:pt x="290513" y="719138"/>
                  </a:lnTo>
                  <a:lnTo>
                    <a:pt x="428625" y="661988"/>
                  </a:lnTo>
                  <a:lnTo>
                    <a:pt x="442913" y="600075"/>
                  </a:lnTo>
                  <a:lnTo>
                    <a:pt x="495300" y="585788"/>
                  </a:lnTo>
                  <a:lnTo>
                    <a:pt x="566738" y="495300"/>
                  </a:lnTo>
                  <a:lnTo>
                    <a:pt x="604838" y="533400"/>
                  </a:lnTo>
                  <a:lnTo>
                    <a:pt x="604838" y="600075"/>
                  </a:lnTo>
                  <a:lnTo>
                    <a:pt x="523875" y="661988"/>
                  </a:lnTo>
                  <a:lnTo>
                    <a:pt x="514350" y="714375"/>
                  </a:lnTo>
                  <a:lnTo>
                    <a:pt x="561975" y="781050"/>
                  </a:lnTo>
                  <a:lnTo>
                    <a:pt x="542925" y="814388"/>
                  </a:lnTo>
                  <a:lnTo>
                    <a:pt x="495300" y="881063"/>
                  </a:lnTo>
                  <a:lnTo>
                    <a:pt x="495300" y="923925"/>
                  </a:lnTo>
                  <a:lnTo>
                    <a:pt x="566738" y="947738"/>
                  </a:lnTo>
                  <a:lnTo>
                    <a:pt x="628650" y="976313"/>
                  </a:lnTo>
                  <a:lnTo>
                    <a:pt x="657225" y="1052513"/>
                  </a:lnTo>
                  <a:lnTo>
                    <a:pt x="766763" y="1104900"/>
                  </a:lnTo>
                  <a:lnTo>
                    <a:pt x="766763" y="1104900"/>
                  </a:lnTo>
                  <a:lnTo>
                    <a:pt x="700088" y="1223963"/>
                  </a:lnTo>
                  <a:lnTo>
                    <a:pt x="719138" y="1276350"/>
                  </a:lnTo>
                  <a:lnTo>
                    <a:pt x="776288" y="1262063"/>
                  </a:lnTo>
                  <a:lnTo>
                    <a:pt x="814388" y="1290638"/>
                  </a:lnTo>
                  <a:lnTo>
                    <a:pt x="738188" y="1366838"/>
                  </a:lnTo>
                  <a:lnTo>
                    <a:pt x="752475" y="1400175"/>
                  </a:lnTo>
                  <a:lnTo>
                    <a:pt x="828675" y="1457325"/>
                  </a:lnTo>
                  <a:lnTo>
                    <a:pt x="819150" y="1500188"/>
                  </a:lnTo>
                  <a:lnTo>
                    <a:pt x="747713" y="1514475"/>
                  </a:lnTo>
                  <a:lnTo>
                    <a:pt x="719138" y="1562100"/>
                  </a:lnTo>
                  <a:lnTo>
                    <a:pt x="676275" y="1571625"/>
                  </a:lnTo>
                  <a:lnTo>
                    <a:pt x="642938" y="1481138"/>
                  </a:lnTo>
                  <a:lnTo>
                    <a:pt x="604838" y="1490663"/>
                  </a:lnTo>
                  <a:lnTo>
                    <a:pt x="609600" y="1533525"/>
                  </a:lnTo>
                  <a:lnTo>
                    <a:pt x="642938" y="1585913"/>
                  </a:lnTo>
                  <a:lnTo>
                    <a:pt x="614363" y="1604963"/>
                  </a:lnTo>
                  <a:lnTo>
                    <a:pt x="500063" y="1600200"/>
                  </a:lnTo>
                  <a:lnTo>
                    <a:pt x="490538" y="1638300"/>
                  </a:lnTo>
                  <a:lnTo>
                    <a:pt x="552450" y="1662113"/>
                  </a:lnTo>
                  <a:lnTo>
                    <a:pt x="557213" y="1733550"/>
                  </a:lnTo>
                  <a:lnTo>
                    <a:pt x="442913" y="1795463"/>
                  </a:lnTo>
                  <a:lnTo>
                    <a:pt x="361950" y="1890713"/>
                  </a:lnTo>
                  <a:lnTo>
                    <a:pt x="447675" y="1919288"/>
                  </a:lnTo>
                  <a:lnTo>
                    <a:pt x="581025" y="1933575"/>
                  </a:lnTo>
                  <a:lnTo>
                    <a:pt x="628650" y="1981200"/>
                  </a:lnTo>
                  <a:lnTo>
                    <a:pt x="652463" y="2052638"/>
                  </a:lnTo>
                  <a:lnTo>
                    <a:pt x="719138" y="2066925"/>
                  </a:lnTo>
                  <a:lnTo>
                    <a:pt x="723900" y="2166938"/>
                  </a:lnTo>
                  <a:lnTo>
                    <a:pt x="833438" y="2214563"/>
                  </a:lnTo>
                  <a:lnTo>
                    <a:pt x="928688" y="2314575"/>
                  </a:lnTo>
                  <a:lnTo>
                    <a:pt x="1028700" y="2333625"/>
                  </a:lnTo>
                  <a:lnTo>
                    <a:pt x="1114425" y="2386013"/>
                  </a:lnTo>
                  <a:close/>
                </a:path>
              </a:pathLst>
            </a:custGeom>
            <a:solidFill>
              <a:srgbClr val="007DC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      </a:t>
              </a:r>
            </a:p>
            <a:p>
              <a:pPr algn="ctr"/>
              <a:endParaRPr lang="sk-SK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      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Voľná forma 29">
              <a:extLst>
                <a:ext uri="{FF2B5EF4-FFF2-40B4-BE49-F238E27FC236}">
                  <a16:creationId xmlns:a16="http://schemas.microsoft.com/office/drawing/2014/main" id="{C307620C-7983-48F6-BEDF-71C04CB65523}"/>
                </a:ext>
              </a:extLst>
            </p:cNvPr>
            <p:cNvSpPr/>
            <p:nvPr/>
          </p:nvSpPr>
          <p:spPr>
            <a:xfrm>
              <a:off x="412750" y="3298825"/>
              <a:ext cx="981075" cy="1393825"/>
            </a:xfrm>
            <a:custGeom>
              <a:avLst/>
              <a:gdLst>
                <a:gd name="connsiteX0" fmla="*/ 508000 w 981075"/>
                <a:gd name="connsiteY0" fmla="*/ 1393825 h 1393825"/>
                <a:gd name="connsiteX1" fmla="*/ 590550 w 981075"/>
                <a:gd name="connsiteY1" fmla="*/ 1298575 h 1393825"/>
                <a:gd name="connsiteX2" fmla="*/ 711200 w 981075"/>
                <a:gd name="connsiteY2" fmla="*/ 1235075 h 1393825"/>
                <a:gd name="connsiteX3" fmla="*/ 701675 w 981075"/>
                <a:gd name="connsiteY3" fmla="*/ 1162050 h 1393825"/>
                <a:gd name="connsiteX4" fmla="*/ 641350 w 981075"/>
                <a:gd name="connsiteY4" fmla="*/ 1143000 h 1393825"/>
                <a:gd name="connsiteX5" fmla="*/ 654050 w 981075"/>
                <a:gd name="connsiteY5" fmla="*/ 1098550 h 1393825"/>
                <a:gd name="connsiteX6" fmla="*/ 768350 w 981075"/>
                <a:gd name="connsiteY6" fmla="*/ 1108075 h 1393825"/>
                <a:gd name="connsiteX7" fmla="*/ 800100 w 981075"/>
                <a:gd name="connsiteY7" fmla="*/ 1085850 h 1393825"/>
                <a:gd name="connsiteX8" fmla="*/ 758825 w 981075"/>
                <a:gd name="connsiteY8" fmla="*/ 1041400 h 1393825"/>
                <a:gd name="connsiteX9" fmla="*/ 755650 w 981075"/>
                <a:gd name="connsiteY9" fmla="*/ 987425 h 1393825"/>
                <a:gd name="connsiteX10" fmla="*/ 793750 w 981075"/>
                <a:gd name="connsiteY10" fmla="*/ 984250 h 1393825"/>
                <a:gd name="connsiteX11" fmla="*/ 825500 w 981075"/>
                <a:gd name="connsiteY11" fmla="*/ 1073150 h 1393825"/>
                <a:gd name="connsiteX12" fmla="*/ 869950 w 981075"/>
                <a:gd name="connsiteY12" fmla="*/ 1063625 h 1393825"/>
                <a:gd name="connsiteX13" fmla="*/ 898525 w 981075"/>
                <a:gd name="connsiteY13" fmla="*/ 1019175 h 1393825"/>
                <a:gd name="connsiteX14" fmla="*/ 968375 w 981075"/>
                <a:gd name="connsiteY14" fmla="*/ 1006475 h 1393825"/>
                <a:gd name="connsiteX15" fmla="*/ 981075 w 981075"/>
                <a:gd name="connsiteY15" fmla="*/ 958850 h 1393825"/>
                <a:gd name="connsiteX16" fmla="*/ 904875 w 981075"/>
                <a:gd name="connsiteY16" fmla="*/ 904875 h 1393825"/>
                <a:gd name="connsiteX17" fmla="*/ 889000 w 981075"/>
                <a:gd name="connsiteY17" fmla="*/ 866775 h 1393825"/>
                <a:gd name="connsiteX18" fmla="*/ 968375 w 981075"/>
                <a:gd name="connsiteY18" fmla="*/ 796925 h 1393825"/>
                <a:gd name="connsiteX19" fmla="*/ 923925 w 981075"/>
                <a:gd name="connsiteY19" fmla="*/ 765175 h 1393825"/>
                <a:gd name="connsiteX20" fmla="*/ 863600 w 981075"/>
                <a:gd name="connsiteY20" fmla="*/ 777875 h 1393825"/>
                <a:gd name="connsiteX21" fmla="*/ 850900 w 981075"/>
                <a:gd name="connsiteY21" fmla="*/ 723900 h 1393825"/>
                <a:gd name="connsiteX22" fmla="*/ 914400 w 981075"/>
                <a:gd name="connsiteY22" fmla="*/ 603250 h 1393825"/>
                <a:gd name="connsiteX23" fmla="*/ 806450 w 981075"/>
                <a:gd name="connsiteY23" fmla="*/ 555625 h 1393825"/>
                <a:gd name="connsiteX24" fmla="*/ 781050 w 981075"/>
                <a:gd name="connsiteY24" fmla="*/ 473075 h 1393825"/>
                <a:gd name="connsiteX25" fmla="*/ 650875 w 981075"/>
                <a:gd name="connsiteY25" fmla="*/ 422275 h 1393825"/>
                <a:gd name="connsiteX26" fmla="*/ 644525 w 981075"/>
                <a:gd name="connsiteY26" fmla="*/ 381000 h 1393825"/>
                <a:gd name="connsiteX27" fmla="*/ 711200 w 981075"/>
                <a:gd name="connsiteY27" fmla="*/ 276225 h 1393825"/>
                <a:gd name="connsiteX28" fmla="*/ 663575 w 981075"/>
                <a:gd name="connsiteY28" fmla="*/ 215900 h 1393825"/>
                <a:gd name="connsiteX29" fmla="*/ 673100 w 981075"/>
                <a:gd name="connsiteY29" fmla="*/ 161925 h 1393825"/>
                <a:gd name="connsiteX30" fmla="*/ 755650 w 981075"/>
                <a:gd name="connsiteY30" fmla="*/ 98425 h 1393825"/>
                <a:gd name="connsiteX31" fmla="*/ 752475 w 981075"/>
                <a:gd name="connsiteY31" fmla="*/ 31750 h 1393825"/>
                <a:gd name="connsiteX32" fmla="*/ 717550 w 981075"/>
                <a:gd name="connsiteY32" fmla="*/ 0 h 1393825"/>
                <a:gd name="connsiteX33" fmla="*/ 638175 w 981075"/>
                <a:gd name="connsiteY33" fmla="*/ 88900 h 1393825"/>
                <a:gd name="connsiteX34" fmla="*/ 590550 w 981075"/>
                <a:gd name="connsiteY34" fmla="*/ 104775 h 1393825"/>
                <a:gd name="connsiteX35" fmla="*/ 574675 w 981075"/>
                <a:gd name="connsiteY35" fmla="*/ 165100 h 1393825"/>
                <a:gd name="connsiteX36" fmla="*/ 438150 w 981075"/>
                <a:gd name="connsiteY36" fmla="*/ 222250 h 1393825"/>
                <a:gd name="connsiteX37" fmla="*/ 406400 w 981075"/>
                <a:gd name="connsiteY37" fmla="*/ 177800 h 1393825"/>
                <a:gd name="connsiteX38" fmla="*/ 371475 w 981075"/>
                <a:gd name="connsiteY38" fmla="*/ 215900 h 1393825"/>
                <a:gd name="connsiteX39" fmla="*/ 317500 w 981075"/>
                <a:gd name="connsiteY39" fmla="*/ 193675 h 1393825"/>
                <a:gd name="connsiteX40" fmla="*/ 180975 w 981075"/>
                <a:gd name="connsiteY40" fmla="*/ 231775 h 1393825"/>
                <a:gd name="connsiteX41" fmla="*/ 111125 w 981075"/>
                <a:gd name="connsiteY41" fmla="*/ 358775 h 1393825"/>
                <a:gd name="connsiteX42" fmla="*/ 60325 w 981075"/>
                <a:gd name="connsiteY42" fmla="*/ 406400 h 1393825"/>
                <a:gd name="connsiteX43" fmla="*/ 0 w 981075"/>
                <a:gd name="connsiteY43" fmla="*/ 593725 h 1393825"/>
                <a:gd name="connsiteX44" fmla="*/ 19050 w 981075"/>
                <a:gd name="connsiteY44" fmla="*/ 644525 h 1393825"/>
                <a:gd name="connsiteX45" fmla="*/ 98425 w 981075"/>
                <a:gd name="connsiteY45" fmla="*/ 704850 h 1393825"/>
                <a:gd name="connsiteX46" fmla="*/ 111125 w 981075"/>
                <a:gd name="connsiteY46" fmla="*/ 796925 h 1393825"/>
                <a:gd name="connsiteX47" fmla="*/ 165100 w 981075"/>
                <a:gd name="connsiteY47" fmla="*/ 879475 h 1393825"/>
                <a:gd name="connsiteX48" fmla="*/ 200025 w 981075"/>
                <a:gd name="connsiteY48" fmla="*/ 1044575 h 1393825"/>
                <a:gd name="connsiteX49" fmla="*/ 339725 w 981075"/>
                <a:gd name="connsiteY49" fmla="*/ 1181100 h 1393825"/>
                <a:gd name="connsiteX50" fmla="*/ 349250 w 981075"/>
                <a:gd name="connsiteY50" fmla="*/ 1250950 h 1393825"/>
                <a:gd name="connsiteX51" fmla="*/ 327025 w 981075"/>
                <a:gd name="connsiteY51" fmla="*/ 1304925 h 1393825"/>
                <a:gd name="connsiteX52" fmla="*/ 508000 w 981075"/>
                <a:gd name="connsiteY52" fmla="*/ 1393825 h 139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981075" h="1393825">
                  <a:moveTo>
                    <a:pt x="508000" y="1393825"/>
                  </a:moveTo>
                  <a:lnTo>
                    <a:pt x="590550" y="1298575"/>
                  </a:lnTo>
                  <a:lnTo>
                    <a:pt x="711200" y="1235075"/>
                  </a:lnTo>
                  <a:lnTo>
                    <a:pt x="701675" y="1162050"/>
                  </a:lnTo>
                  <a:lnTo>
                    <a:pt x="641350" y="1143000"/>
                  </a:lnTo>
                  <a:lnTo>
                    <a:pt x="654050" y="1098550"/>
                  </a:lnTo>
                  <a:lnTo>
                    <a:pt x="768350" y="1108075"/>
                  </a:lnTo>
                  <a:lnTo>
                    <a:pt x="800100" y="1085850"/>
                  </a:lnTo>
                  <a:lnTo>
                    <a:pt x="758825" y="1041400"/>
                  </a:lnTo>
                  <a:lnTo>
                    <a:pt x="755650" y="987425"/>
                  </a:lnTo>
                  <a:lnTo>
                    <a:pt x="793750" y="984250"/>
                  </a:lnTo>
                  <a:lnTo>
                    <a:pt x="825500" y="1073150"/>
                  </a:lnTo>
                  <a:lnTo>
                    <a:pt x="869950" y="1063625"/>
                  </a:lnTo>
                  <a:lnTo>
                    <a:pt x="898525" y="1019175"/>
                  </a:lnTo>
                  <a:lnTo>
                    <a:pt x="968375" y="1006475"/>
                  </a:lnTo>
                  <a:lnTo>
                    <a:pt x="981075" y="958850"/>
                  </a:lnTo>
                  <a:lnTo>
                    <a:pt x="904875" y="904875"/>
                  </a:lnTo>
                  <a:lnTo>
                    <a:pt x="889000" y="866775"/>
                  </a:lnTo>
                  <a:lnTo>
                    <a:pt x="968375" y="796925"/>
                  </a:lnTo>
                  <a:lnTo>
                    <a:pt x="923925" y="765175"/>
                  </a:lnTo>
                  <a:lnTo>
                    <a:pt x="863600" y="777875"/>
                  </a:lnTo>
                  <a:lnTo>
                    <a:pt x="850900" y="723900"/>
                  </a:lnTo>
                  <a:lnTo>
                    <a:pt x="914400" y="603250"/>
                  </a:lnTo>
                  <a:lnTo>
                    <a:pt x="806450" y="555625"/>
                  </a:lnTo>
                  <a:lnTo>
                    <a:pt x="781050" y="473075"/>
                  </a:lnTo>
                  <a:lnTo>
                    <a:pt x="650875" y="422275"/>
                  </a:lnTo>
                  <a:lnTo>
                    <a:pt x="644525" y="381000"/>
                  </a:lnTo>
                  <a:lnTo>
                    <a:pt x="711200" y="276225"/>
                  </a:lnTo>
                  <a:lnTo>
                    <a:pt x="663575" y="215900"/>
                  </a:lnTo>
                  <a:lnTo>
                    <a:pt x="673100" y="161925"/>
                  </a:lnTo>
                  <a:lnTo>
                    <a:pt x="755650" y="98425"/>
                  </a:lnTo>
                  <a:lnTo>
                    <a:pt x="752475" y="31750"/>
                  </a:lnTo>
                  <a:lnTo>
                    <a:pt x="717550" y="0"/>
                  </a:lnTo>
                  <a:lnTo>
                    <a:pt x="638175" y="88900"/>
                  </a:lnTo>
                  <a:lnTo>
                    <a:pt x="590550" y="104775"/>
                  </a:lnTo>
                  <a:lnTo>
                    <a:pt x="574675" y="165100"/>
                  </a:lnTo>
                  <a:lnTo>
                    <a:pt x="438150" y="222250"/>
                  </a:lnTo>
                  <a:lnTo>
                    <a:pt x="406400" y="177800"/>
                  </a:lnTo>
                  <a:lnTo>
                    <a:pt x="371475" y="215900"/>
                  </a:lnTo>
                  <a:lnTo>
                    <a:pt x="317500" y="193675"/>
                  </a:lnTo>
                  <a:lnTo>
                    <a:pt x="180975" y="231775"/>
                  </a:lnTo>
                  <a:lnTo>
                    <a:pt x="111125" y="358775"/>
                  </a:lnTo>
                  <a:lnTo>
                    <a:pt x="60325" y="406400"/>
                  </a:lnTo>
                  <a:lnTo>
                    <a:pt x="0" y="593725"/>
                  </a:lnTo>
                  <a:lnTo>
                    <a:pt x="19050" y="644525"/>
                  </a:lnTo>
                  <a:lnTo>
                    <a:pt x="98425" y="704850"/>
                  </a:lnTo>
                  <a:lnTo>
                    <a:pt x="111125" y="796925"/>
                  </a:lnTo>
                  <a:lnTo>
                    <a:pt x="165100" y="879475"/>
                  </a:lnTo>
                  <a:lnTo>
                    <a:pt x="200025" y="1044575"/>
                  </a:lnTo>
                  <a:lnTo>
                    <a:pt x="339725" y="1181100"/>
                  </a:lnTo>
                  <a:lnTo>
                    <a:pt x="349250" y="1250950"/>
                  </a:lnTo>
                  <a:lnTo>
                    <a:pt x="327025" y="1304925"/>
                  </a:lnTo>
                  <a:lnTo>
                    <a:pt x="508000" y="13938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k-SK" sz="1000" b="1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8" name="Text Box 35">
            <a:extLst>
              <a:ext uri="{FF2B5EF4-FFF2-40B4-BE49-F238E27FC236}">
                <a16:creationId xmlns:a16="http://schemas.microsoft.com/office/drawing/2014/main" id="{5D1888F5-3A4E-4B31-923B-642724B465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5064" y="3417499"/>
            <a:ext cx="9173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Nitr</a:t>
            </a:r>
            <a:r>
              <a:rPr lang="sk-SK" sz="800">
                <a:solidFill>
                  <a:schemeClr val="bg1"/>
                </a:solidFill>
              </a:rPr>
              <a:t>iansky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59" name="Text Box 36">
            <a:extLst>
              <a:ext uri="{FF2B5EF4-FFF2-40B4-BE49-F238E27FC236}">
                <a16:creationId xmlns:a16="http://schemas.microsoft.com/office/drawing/2014/main" id="{DFE4717F-A083-487C-9EF6-7765A75392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5614" y="2780345"/>
            <a:ext cx="12165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Banskobystrický </a:t>
            </a:r>
            <a:r>
              <a:rPr lang="sk-SK" sz="800">
                <a:solidFill>
                  <a:schemeClr val="bg1"/>
                </a:solidFill>
              </a:rPr>
              <a:t>k</a:t>
            </a:r>
            <a:r>
              <a:rPr lang="en-US" sz="800">
                <a:solidFill>
                  <a:schemeClr val="bg1"/>
                </a:solidFill>
              </a:rPr>
              <a:t>raj</a:t>
            </a:r>
          </a:p>
        </p:txBody>
      </p:sp>
      <p:sp>
        <p:nvSpPr>
          <p:cNvPr id="60" name="Text Box 37">
            <a:extLst>
              <a:ext uri="{FF2B5EF4-FFF2-40B4-BE49-F238E27FC236}">
                <a16:creationId xmlns:a16="http://schemas.microsoft.com/office/drawing/2014/main" id="{5ACF5E69-CA51-4F0F-BF5B-210D3DC62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0386" y="2579253"/>
            <a:ext cx="9314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Košic</a:t>
            </a:r>
            <a:r>
              <a:rPr lang="sk-SK" sz="800">
                <a:solidFill>
                  <a:schemeClr val="bg1"/>
                </a:solidFill>
              </a:rPr>
              <a:t>ký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1" name="Text Box 38">
            <a:extLst>
              <a:ext uri="{FF2B5EF4-FFF2-40B4-BE49-F238E27FC236}">
                <a16:creationId xmlns:a16="http://schemas.microsoft.com/office/drawing/2014/main" id="{6FF552C7-8049-4785-A549-4E20CBF45F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0845" y="1888320"/>
            <a:ext cx="8781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ešov</a:t>
            </a:r>
            <a:r>
              <a:rPr lang="sk-SK" sz="800">
                <a:solidFill>
                  <a:schemeClr val="bg1"/>
                </a:solidFill>
              </a:rPr>
              <a:t>ský kraj 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2" name="Text Box 39">
            <a:extLst>
              <a:ext uri="{FF2B5EF4-FFF2-40B4-BE49-F238E27FC236}">
                <a16:creationId xmlns:a16="http://schemas.microsoft.com/office/drawing/2014/main" id="{F2C1656F-D86E-4EA9-942D-CBDFDF4242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02968" y="1773236"/>
            <a:ext cx="82529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err="1">
                <a:solidFill>
                  <a:schemeClr val="bg1"/>
                </a:solidFill>
              </a:rPr>
              <a:t>Žilin</a:t>
            </a:r>
            <a:r>
              <a:rPr lang="sk-SK" sz="800">
                <a:solidFill>
                  <a:schemeClr val="bg1"/>
                </a:solidFill>
              </a:rPr>
              <a:t>ský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3" name="Text Box 40">
            <a:extLst>
              <a:ext uri="{FF2B5EF4-FFF2-40B4-BE49-F238E27FC236}">
                <a16:creationId xmlns:a16="http://schemas.microsoft.com/office/drawing/2014/main" id="{5A2EB89F-6EF5-43E7-A234-067A850FC7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022" y="2307790"/>
            <a:ext cx="7617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Trenč</a:t>
            </a:r>
            <a:r>
              <a:rPr lang="sk-SK" sz="800">
                <a:solidFill>
                  <a:schemeClr val="bg1"/>
                </a:solidFill>
              </a:rPr>
              <a:t>iansky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4" name="Text Box 33">
            <a:extLst>
              <a:ext uri="{FF2B5EF4-FFF2-40B4-BE49-F238E27FC236}">
                <a16:creationId xmlns:a16="http://schemas.microsoft.com/office/drawing/2014/main" id="{E1F8BA54-A5B1-40B9-B01C-8F68840D0D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17447" y="3205660"/>
            <a:ext cx="77542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Bratislav</a:t>
            </a:r>
            <a:r>
              <a:rPr lang="sk-SK" sz="800">
                <a:solidFill>
                  <a:schemeClr val="bg1"/>
                </a:solidFill>
              </a:rPr>
              <a:t>ský     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5" name="Text Box 34">
            <a:extLst>
              <a:ext uri="{FF2B5EF4-FFF2-40B4-BE49-F238E27FC236}">
                <a16:creationId xmlns:a16="http://schemas.microsoft.com/office/drawing/2014/main" id="{F6525C76-1C67-4474-9EBD-26E1DADE43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7215" y="2960010"/>
            <a:ext cx="61566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Trnav</a:t>
            </a:r>
            <a:r>
              <a:rPr lang="sk-SK" sz="800">
                <a:solidFill>
                  <a:schemeClr val="bg1"/>
                </a:solidFill>
              </a:rPr>
              <a:t>ský kraj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66" name="BlokTextu 65">
            <a:extLst>
              <a:ext uri="{FF2B5EF4-FFF2-40B4-BE49-F238E27FC236}">
                <a16:creationId xmlns:a16="http://schemas.microsoft.com/office/drawing/2014/main" id="{B4C9F7A8-6BDB-463F-B136-0D731A1F6A32}"/>
              </a:ext>
            </a:extLst>
          </p:cNvPr>
          <p:cNvSpPr txBox="1"/>
          <p:nvPr/>
        </p:nvSpPr>
        <p:spPr bwMode="gray">
          <a:xfrm>
            <a:off x="2367004" y="3472390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36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67" name="BlokTextu 66">
            <a:extLst>
              <a:ext uri="{FF2B5EF4-FFF2-40B4-BE49-F238E27FC236}">
                <a16:creationId xmlns:a16="http://schemas.microsoft.com/office/drawing/2014/main" id="{B14D4879-B45D-4D5B-8603-030916B4052B}"/>
              </a:ext>
            </a:extLst>
          </p:cNvPr>
          <p:cNvSpPr txBox="1"/>
          <p:nvPr/>
        </p:nvSpPr>
        <p:spPr bwMode="gray">
          <a:xfrm>
            <a:off x="6885664" y="1896955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44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68" name="BlokTextu 67">
            <a:extLst>
              <a:ext uri="{FF2B5EF4-FFF2-40B4-BE49-F238E27FC236}">
                <a16:creationId xmlns:a16="http://schemas.microsoft.com/office/drawing/2014/main" id="{6282FDBD-F0C4-4F8D-914E-43CBD8DD31F6}"/>
              </a:ext>
            </a:extLst>
          </p:cNvPr>
          <p:cNvSpPr txBox="1"/>
          <p:nvPr/>
        </p:nvSpPr>
        <p:spPr bwMode="gray">
          <a:xfrm>
            <a:off x="6811369" y="2594185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41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69" name="BlokTextu 68">
            <a:extLst>
              <a:ext uri="{FF2B5EF4-FFF2-40B4-BE49-F238E27FC236}">
                <a16:creationId xmlns:a16="http://schemas.microsoft.com/office/drawing/2014/main" id="{41DDEC3D-9960-45E1-B8F6-BFC36CCCFD2C}"/>
              </a:ext>
            </a:extLst>
          </p:cNvPr>
          <p:cNvSpPr txBox="1"/>
          <p:nvPr/>
        </p:nvSpPr>
        <p:spPr bwMode="gray">
          <a:xfrm>
            <a:off x="3555724" y="3678130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43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70" name="BlokTextu 69">
            <a:extLst>
              <a:ext uri="{FF2B5EF4-FFF2-40B4-BE49-F238E27FC236}">
                <a16:creationId xmlns:a16="http://schemas.microsoft.com/office/drawing/2014/main" id="{1DAF4FAE-D180-4F94-8FF6-C29BB6550BD4}"/>
              </a:ext>
            </a:extLst>
          </p:cNvPr>
          <p:cNvSpPr txBox="1"/>
          <p:nvPr/>
        </p:nvSpPr>
        <p:spPr bwMode="gray">
          <a:xfrm>
            <a:off x="4432024" y="1965535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43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71" name="BlokTextu 70">
            <a:extLst>
              <a:ext uri="{FF2B5EF4-FFF2-40B4-BE49-F238E27FC236}">
                <a16:creationId xmlns:a16="http://schemas.microsoft.com/office/drawing/2014/main" id="{1BE74727-E58C-4088-B054-9254F86AA255}"/>
              </a:ext>
            </a:extLst>
          </p:cNvPr>
          <p:cNvSpPr txBox="1"/>
          <p:nvPr/>
        </p:nvSpPr>
        <p:spPr bwMode="gray">
          <a:xfrm>
            <a:off x="3593824" y="2533225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38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72" name="BlokTextu 71">
            <a:extLst>
              <a:ext uri="{FF2B5EF4-FFF2-40B4-BE49-F238E27FC236}">
                <a16:creationId xmlns:a16="http://schemas.microsoft.com/office/drawing/2014/main" id="{1BCC8449-6144-4626-9F90-83C917008AE8}"/>
              </a:ext>
            </a:extLst>
          </p:cNvPr>
          <p:cNvSpPr txBox="1"/>
          <p:nvPr/>
        </p:nvSpPr>
        <p:spPr bwMode="gray">
          <a:xfrm>
            <a:off x="4782544" y="3026620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47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73" name="BlokTextu 72">
            <a:extLst>
              <a:ext uri="{FF2B5EF4-FFF2-40B4-BE49-F238E27FC236}">
                <a16:creationId xmlns:a16="http://schemas.microsoft.com/office/drawing/2014/main" id="{66213725-8725-4757-881D-6F6700619EB3}"/>
              </a:ext>
            </a:extLst>
          </p:cNvPr>
          <p:cNvSpPr txBox="1"/>
          <p:nvPr/>
        </p:nvSpPr>
        <p:spPr bwMode="gray">
          <a:xfrm>
            <a:off x="2894689" y="3287605"/>
            <a:ext cx="5343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sk-SK" sz="1600" b="1">
                <a:solidFill>
                  <a:schemeClr val="bg1"/>
                </a:solidFill>
                <a:cs typeface="Arial" pitchFamily="34" charset="0"/>
              </a:rPr>
              <a:t>34</a:t>
            </a:r>
            <a:r>
              <a:rPr lang="sk-SK" sz="1100" b="1">
                <a:solidFill>
                  <a:schemeClr val="bg1"/>
                </a:solidFill>
                <a:cs typeface="Arial" pitchFamily="34" charset="0"/>
              </a:rPr>
              <a:t>%</a:t>
            </a:r>
          </a:p>
        </p:txBody>
      </p:sp>
      <p:sp>
        <p:nvSpPr>
          <p:cNvPr id="52" name="Nadpis 3">
            <a:extLst>
              <a:ext uri="{FF2B5EF4-FFF2-40B4-BE49-F238E27FC236}">
                <a16:creationId xmlns:a16="http://schemas.microsoft.com/office/drawing/2014/main" id="{029A3880-5AB9-4208-9D36-FFCEBAD50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195420"/>
            <a:ext cx="6408889" cy="576080"/>
          </a:xfrm>
        </p:spPr>
        <p:txBody>
          <a:bodyPr anchor="ctr"/>
          <a:lstStyle/>
          <a:p>
            <a: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  <a:t>Podiel vystavených slovenských výrobkov</a:t>
            </a:r>
            <a:br>
              <a:rPr lang="sk-SK" sz="2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latin typeface="Arial"/>
              </a:rPr>
            </a:br>
            <a:r>
              <a:rPr lang="sk-SK" sz="14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Regionálny pohľad</a:t>
            </a:r>
            <a:endParaRPr lang="sk-SK" sz="160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56" name="Zástupný symbol textu 10">
            <a:extLst>
              <a:ext uri="{FF2B5EF4-FFF2-40B4-BE49-F238E27FC236}">
                <a16:creationId xmlns:a16="http://schemas.microsoft.com/office/drawing/2014/main" id="{422C8B15-F0B9-4719-B275-2E3A2574177A}"/>
              </a:ext>
            </a:extLst>
          </p:cNvPr>
          <p:cNvSpPr txBox="1">
            <a:spLocks/>
          </p:cNvSpPr>
          <p:nvPr/>
        </p:nvSpPr>
        <p:spPr bwMode="gray">
          <a:xfrm>
            <a:off x="323527" y="4767206"/>
            <a:ext cx="8280000" cy="161758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sk-SK" sz="800">
                <a:solidFill>
                  <a:schemeClr val="bg2"/>
                </a:solidFill>
              </a:rPr>
              <a:t>Báza | N=330 predajní</a:t>
            </a:r>
          </a:p>
        </p:txBody>
      </p: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0A561475-49A5-4A6B-9554-2C18D7381B74}"/>
              </a:ext>
            </a:extLst>
          </p:cNvPr>
          <p:cNvGrpSpPr/>
          <p:nvPr/>
        </p:nvGrpSpPr>
        <p:grpSpPr>
          <a:xfrm>
            <a:off x="465879" y="3251960"/>
            <a:ext cx="1350420" cy="435874"/>
            <a:chOff x="7636669" y="2561616"/>
            <a:chExt cx="1350420" cy="435874"/>
          </a:xfrm>
        </p:grpSpPr>
        <p:sp>
          <p:nvSpPr>
            <p:cNvPr id="42" name="BlokTextu 41">
              <a:extLst>
                <a:ext uri="{FF2B5EF4-FFF2-40B4-BE49-F238E27FC236}">
                  <a16:creationId xmlns:a16="http://schemas.microsoft.com/office/drawing/2014/main" id="{FAC9D593-D686-4B25-833C-B63BAFEC9382}"/>
                </a:ext>
              </a:extLst>
            </p:cNvPr>
            <p:cNvSpPr txBox="1"/>
            <p:nvPr/>
          </p:nvSpPr>
          <p:spPr bwMode="gray">
            <a:xfrm>
              <a:off x="7843526" y="2561616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lovenské výrobky</a:t>
              </a:r>
            </a:p>
          </p:txBody>
        </p:sp>
        <p:sp>
          <p:nvSpPr>
            <p:cNvPr id="43" name="BlokTextu 42">
              <a:extLst>
                <a:ext uri="{FF2B5EF4-FFF2-40B4-BE49-F238E27FC236}">
                  <a16:creationId xmlns:a16="http://schemas.microsoft.com/office/drawing/2014/main" id="{C24653E2-84F1-4825-8322-80786EA7F9F8}"/>
                </a:ext>
              </a:extLst>
            </p:cNvPr>
            <p:cNvSpPr txBox="1"/>
            <p:nvPr/>
          </p:nvSpPr>
          <p:spPr bwMode="gray">
            <a:xfrm>
              <a:off x="7843526" y="2843602"/>
              <a:ext cx="114356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sk-SK" sz="100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Zahraničné výrobky</a:t>
              </a:r>
            </a:p>
          </p:txBody>
        </p:sp>
        <p:sp>
          <p:nvSpPr>
            <p:cNvPr id="44" name="Ovál 43">
              <a:extLst>
                <a:ext uri="{FF2B5EF4-FFF2-40B4-BE49-F238E27FC236}">
                  <a16:creationId xmlns:a16="http://schemas.microsoft.com/office/drawing/2014/main" id="{30F6A9C1-5B9D-4DD9-81C8-C5D0DDC651C6}"/>
                </a:ext>
              </a:extLst>
            </p:cNvPr>
            <p:cNvSpPr/>
            <p:nvPr/>
          </p:nvSpPr>
          <p:spPr bwMode="gray">
            <a:xfrm>
              <a:off x="7636669" y="2566560"/>
              <a:ext cx="144000" cy="144000"/>
            </a:xfrm>
            <a:prstGeom prst="ellipse">
              <a:avLst/>
            </a:prstGeom>
            <a:solidFill>
              <a:srgbClr val="FA722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Ovál 44">
              <a:extLst>
                <a:ext uri="{FF2B5EF4-FFF2-40B4-BE49-F238E27FC236}">
                  <a16:creationId xmlns:a16="http://schemas.microsoft.com/office/drawing/2014/main" id="{415A5CB5-F4A3-4730-8411-25A370B8F2DA}"/>
                </a:ext>
              </a:extLst>
            </p:cNvPr>
            <p:cNvSpPr/>
            <p:nvPr/>
          </p:nvSpPr>
          <p:spPr bwMode="gray">
            <a:xfrm>
              <a:off x="7636669" y="2847154"/>
              <a:ext cx="144000" cy="144000"/>
            </a:xfrm>
            <a:prstGeom prst="ellipse">
              <a:avLst/>
            </a:prstGeom>
            <a:solidFill>
              <a:srgbClr val="BFB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sk-SK" sz="16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Rechteck 3">
            <a:extLst>
              <a:ext uri="{FF2B5EF4-FFF2-40B4-BE49-F238E27FC236}">
                <a16:creationId xmlns:a16="http://schemas.microsoft.com/office/drawing/2014/main" id="{EA97180F-93F8-5294-FCCB-F1475BDE7804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517098" y="2312095"/>
            <a:ext cx="942822" cy="3577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>
                <a:solidFill>
                  <a:srgbClr val="FA7222"/>
                </a:solidFill>
              </a:rPr>
              <a:t>40</a:t>
            </a:r>
            <a:r>
              <a:rPr lang="sk-SK" sz="1600">
                <a:solidFill>
                  <a:srgbClr val="FA7222"/>
                </a:solidFill>
              </a:rPr>
              <a:t>,4</a:t>
            </a:r>
            <a:r>
              <a:rPr lang="sk-SK" sz="900">
                <a:solidFill>
                  <a:srgbClr val="FA7222"/>
                </a:solidFill>
              </a:rPr>
              <a:t>%</a:t>
            </a:r>
            <a:endParaRPr lang="en-US" sz="1200">
              <a:solidFill>
                <a:srgbClr val="FA7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854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12/08/2014 15:21:41"/>
  <p:tag name="STYLE" val="VCT_Marker"/>
  <p:tag name="VCTMASTER" val="GfK Group"/>
  <p:tag name="VCTORDER" val="1"/>
  <p:tag name="VCT-TEMPLATE" val="GfK Group_16-9_redesign.potx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07/27/2016 12:00:49"/>
  <p:tag name="STYLE" val="VctSubject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07/27/2016 12:01:06"/>
  <p:tag name="STYLE" val="VctFootn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5ScxV.0Cq_T3X5jT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5ScxV.0Cq_T3X5jTS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5ScxV.0Cq_T3X5jTS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5ScxV.0Cq_T3X5jTS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5ScxV.0Cq_T3X5jTS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12/08/2014 15:21:41"/>
  <p:tag name="STYLE" val="VCT_Marker"/>
  <p:tag name="VCTMASTER" val="GfK Group"/>
  <p:tag name="VCTORDER" val="1"/>
  <p:tag name="VCT-TEMPLATE" val="GfK Group_16-9_redesign.potx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" val="12/08/2014 15:21:41"/>
  <p:tag name="STYLE" val="VCT_Marker"/>
  <p:tag name="VCTMASTER" val="GfK Group"/>
  <p:tag name="VCTORDER" val="1"/>
  <p:tag name="VCT-TEMPLATE" val="GfK Group_16-9_redesign.potx"/>
</p:tagLst>
</file>

<file path=ppt/theme/theme1.xml><?xml version="1.0" encoding="utf-8"?>
<a:theme xmlns:a="http://schemas.openxmlformats.org/drawingml/2006/main" name="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1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Go4insight">
  <a:themeElements>
    <a:clrScheme name="Vlastné 4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4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bb6599f-bfb9-4675-b1b6-4f806c824684">
      <UserInfo>
        <DisplayName>Juraj Richnák (Go4insight)</DisplayName>
        <AccountId>19</AccountId>
        <AccountType/>
      </UserInfo>
      <UserInfo>
        <DisplayName>Rastislav Kočan (Go4insight)</DisplayName>
        <AccountId>6</AccountId>
        <AccountType/>
      </UserInfo>
      <UserInfo>
        <DisplayName>Ľubica Kobanová (Go4insight)</DisplayName>
        <AccountId>7556</AccountId>
        <AccountType/>
      </UserInfo>
    </SharedWithUsers>
    <lcf76f155ced4ddcb4097134ff3c332f xmlns="7844d330-af32-4b22-9e70-bc56a7cbc678">
      <Terms xmlns="http://schemas.microsoft.com/office/infopath/2007/PartnerControls"/>
    </lcf76f155ced4ddcb4097134ff3c332f>
    <TaxCatchAll xmlns="ebb6599f-bfb9-4675-b1b6-4f806c82468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05252C4F2DD014CB7E81B0862AC4DE4" ma:contentTypeVersion="19" ma:contentTypeDescription="Umožňuje vytvoriť nový dokument." ma:contentTypeScope="" ma:versionID="cc4de6932359edccc94b03ed8c290091">
  <xsd:schema xmlns:xsd="http://www.w3.org/2001/XMLSchema" xmlns:xs="http://www.w3.org/2001/XMLSchema" xmlns:p="http://schemas.microsoft.com/office/2006/metadata/properties" xmlns:ns2="7844d330-af32-4b22-9e70-bc56a7cbc678" xmlns:ns3="ebb6599f-bfb9-4675-b1b6-4f806c824684" targetNamespace="http://schemas.microsoft.com/office/2006/metadata/properties" ma:root="true" ma:fieldsID="558d8cd5b16cf71f35d44ecf71cf022b" ns2:_="" ns3:_="">
    <xsd:import namespace="7844d330-af32-4b22-9e70-bc56a7cbc678"/>
    <xsd:import namespace="ebb6599f-bfb9-4675-b1b6-4f806c824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44d330-af32-4b22-9e70-bc56a7cbc6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Značky obrázka" ma:readOnly="false" ma:fieldId="{5cf76f15-5ced-4ddc-b409-7134ff3c332f}" ma:taxonomyMulti="true" ma:sspId="89224b30-ff19-4d38-89ec-15973352fde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6599f-bfb9-4675-b1b6-4f806c824684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8bdbacb-9b2b-49f4-9887-2a5d8510d216}" ma:internalName="TaxCatchAll" ma:showField="CatchAllData" ma:web="ebb6599f-bfb9-4675-b1b6-4f806c824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3044BF-A435-4394-AA7A-C500776C88E9}">
  <ds:schemaRefs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7844d330-af32-4b22-9e70-bc56a7cbc678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ebb6599f-bfb9-4675-b1b6-4f806c824684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A96F0AF-C733-4F5A-BFF9-AEBF7F69A401}">
  <ds:schemaRefs>
    <ds:schemaRef ds:uri="7844d330-af32-4b22-9e70-bc56a7cbc678"/>
    <ds:schemaRef ds:uri="ebb6599f-bfb9-4675-b1b6-4f806c82468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_16-9</Template>
  <TotalTime>1072</TotalTime>
  <Words>802</Words>
  <Application>Microsoft Office PowerPoint</Application>
  <PresentationFormat>Prezentácia na obrazovke (16:9)</PresentationFormat>
  <Paragraphs>161</Paragraphs>
  <Slides>12</Slides>
  <Notes>5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3</vt:i4>
      </vt:variant>
      <vt:variant>
        <vt:lpstr>Vložené servery OLE</vt:lpstr>
      </vt:variant>
      <vt:variant>
        <vt:i4>2</vt:i4>
      </vt:variant>
      <vt:variant>
        <vt:lpstr>Nadpisy snímok</vt:lpstr>
      </vt:variant>
      <vt:variant>
        <vt:i4>12</vt:i4>
      </vt:variant>
    </vt:vector>
  </HeadingPairs>
  <TitlesOfParts>
    <vt:vector size="22" baseType="lpstr">
      <vt:lpstr>Arial</vt:lpstr>
      <vt:lpstr>Arial CE</vt:lpstr>
      <vt:lpstr>Courier New</vt:lpstr>
      <vt:lpstr>Insight print</vt:lpstr>
      <vt:lpstr>Wingdings</vt:lpstr>
      <vt:lpstr>PPT Template Office 2007-2010_16-9</vt:lpstr>
      <vt:lpstr>1_PPT Template Office 2007-2010_16-9</vt:lpstr>
      <vt:lpstr>Go4insight</vt:lpstr>
      <vt:lpstr>think-cell Slide</vt:lpstr>
      <vt:lpstr>think-cell Folie</vt:lpstr>
      <vt:lpstr>Prezentácia programu PowerPoint</vt:lpstr>
      <vt:lpstr>Dizajn prieskumu</vt:lpstr>
      <vt:lpstr>Podiel vystavených slovenských výrobkov</vt:lpstr>
      <vt:lpstr>Podiel vystavených slovenských výrobkov Podľa jednotlivých reťazcov</vt:lpstr>
      <vt:lpstr>Podiel vystavených slovenských výrobkov Podľa jednotlivých reťazcov I Trend 2011 - 2026</vt:lpstr>
      <vt:lpstr>Podiel vystavených slovenských výrobkov Podľa jednotlivých reťazcov I Trend 2011 - 2026</vt:lpstr>
      <vt:lpstr>Podiel vystavených slovenských výrobkov Podľa kategórií výrobkov a veľkosti predajne</vt:lpstr>
      <vt:lpstr>Podiel vystavených slovenských výrobkov Podľa kategórií výrobkov</vt:lpstr>
      <vt:lpstr>Podiel vystavených slovenských výrobkov Regionálny pohľad</vt:lpstr>
      <vt:lpstr>Hlavné výsledky</vt:lpstr>
      <vt:lpstr>Hlavné výsledky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eskum vnímania rafinérie obyvateľmi v jej blízkosti</dc:title>
  <dc:subject>Ponuka prieskumu GfK</dc:subject>
  <dc:creator>Jana Venhartová</dc:creator>
  <cp:keywords>GfK;Slovnaft</cp:keywords>
  <cp:lastModifiedBy>Jana Venhartová</cp:lastModifiedBy>
  <cp:revision>2</cp:revision>
  <dcterms:created xsi:type="dcterms:W3CDTF">2015-04-17T14:21:11Z</dcterms:created>
  <dcterms:modified xsi:type="dcterms:W3CDTF">2026-05-26T15:3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464;#template|14e0894c-c65f-40d3-8c04-dc2c7cb9794d;#353;#template 16:9|feef3289-4d16-4292-b8f5-4aa93f02d2bc;#1781;#PowerPoint|50a0b034-169b-4062-b9b1-f0dd9c5b2843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C05252C4F2DD014CB7E81B0862AC4DE4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  <property fmtid="{D5CDD505-2E9C-101B-9397-08002B2CF9AE}" pid="12" name="MediaServiceImageTags">
    <vt:lpwstr/>
  </property>
</Properties>
</file>